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changesinfo+xml" PartName="/ppt/changesInfos/changesInfo1.xml"/>
  <Override ContentType="application/vnd.openxmlformats-officedocument.presentationml.handoutMaster+xml" PartName="/ppt/handoutMasters/handoutMaster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8.xml"/>
  <Override ContentType="application/vnd.openxmlformats-officedocument.presentationml.presProps+xml" PartName="/ppt/presProps.xml"/>
  <Override ContentType="application/vnd.openxmlformats-officedocument.presentationml.presentation.main+xml" PartName="/ppt/presentation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presentationml.slideLayout+xml" PartName="/ppt/slideLayouts/slideLayout43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10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theme+xml" PartName="/ppt/theme/theme4.xml"/>
  <Override ContentType="application/vnd.openxmlformats-officedocument.presentationml.viewProps+xml" PartName="/ppt/viewProps.xml"/>
</Types>
</file>

<file path=_rels/.rels><?xml version="1.0" encoding="UTF-8" ?><Relationships xmlns="http://schemas.openxmlformats.org/package/2006/relationships"><Relationship Target="ppt/presentation.xml" Type="http://schemas.openxmlformats.org/officeDocument/2006/relationships/officeDocument" Id="rId1"></Relationship><Relationship Target="docProps/core.xml" Type="http://schemas.openxmlformats.org/package/2006/relationships/metadata/core-properties" Id="rId6"></Relationship><Relationship Target="docProps/thumbnail.jpeg" Type="http://schemas.openxmlformats.org/package/2006/relationships/metadata/thumbnail" Id="rId7"></Relationship><Relationship Target="docProps/custom.xml" Type="http://schemas.openxmlformats.org/officeDocument/2006/relationships/custom-properties" Id="rId8"></Relationship><Relationship Target="docProps/app.xml" Type="http://schemas.openxmlformats.org/officeDocument/2006/relationships/extended-properties" Id="rId9"></Relationship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  <p:sldMasterId id="2147483694" r:id="rId5"/>
  </p:sldMasterIdLst>
  <p:notesMasterIdLst>
    <p:notesMasterId r:id="rId14"/>
  </p:notesMasterIdLst>
  <p:handoutMasterIdLst>
    <p:handoutMasterId r:id="rId15"/>
  </p:handoutMasterIdLst>
  <p:sldIdLst>
    <p:sldId id="259" r:id="rId6"/>
    <p:sldId id="2147479964" r:id="rId7"/>
    <p:sldId id="2147479984" r:id="rId8"/>
    <p:sldId id="2147479985" r:id="rId9"/>
    <p:sldId id="2147479979" r:id="rId10"/>
    <p:sldId id="2147479986" r:id="rId11"/>
    <p:sldId id="2147479987" r:id="rId12"/>
    <p:sldId id="878" r:id="rId13"/>
  </p:sldIdLst>
  <p:sldSz cx="12198350" cy="6858000"/>
  <p:notesSz cx="6797675" cy="9928225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6A8ED0"/>
    <a:srgbClr val="FFCCCC"/>
    <a:srgbClr val="77AF24"/>
    <a:srgbClr val="FFF555"/>
    <a:srgbClr val="959812"/>
    <a:srgbClr val="8BB438"/>
    <a:srgbClr val="F2F2F2"/>
    <a:srgbClr val="EBF3DE"/>
    <a:srgbClr val="EDFC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DCB7A4-D718-4D3F-AF3A-A68C42F15078}" v="13" dt="2023-05-24T06:28:54.6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9360" autoAdjust="0"/>
  </p:normalViewPr>
  <p:slideViewPr>
    <p:cSldViewPr snapToGrid="0">
      <p:cViewPr varScale="1">
        <p:scale>
          <a:sx n="68" d="100"/>
          <a:sy n="68" d="100"/>
        </p:scale>
        <p:origin x="123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?><Relationships xmlns="http://schemas.openxmlformats.org/package/2006/relationships"><Relationship Target="slides/slide3.xml" Type="http://schemas.openxmlformats.org/officeDocument/2006/relationships/slide" Id="rId8"></Relationship><Relationship Target="slides/slide8.xml" Type="http://schemas.openxmlformats.org/officeDocument/2006/relationships/slide" Id="rId13"></Relationship><Relationship Target="viewProps.xml" Type="http://schemas.openxmlformats.org/officeDocument/2006/relationships/viewProps" Id="rId18"></Relationship><Relationship Target="../customXml/item3.xml" Type="http://schemas.openxmlformats.org/officeDocument/2006/relationships/customXml" Id="rId3"></Relationship><Relationship Target="changesInfos/changesInfo1.xml" Type="http://schemas.microsoft.com/office/2016/11/relationships/changesInfo" Id="rId21"></Relationship><Relationship Target="slides/slide2.xml" Type="http://schemas.openxmlformats.org/officeDocument/2006/relationships/slide" Id="rId7"></Relationship><Relationship Target="slides/slide7.xml" Type="http://schemas.openxmlformats.org/officeDocument/2006/relationships/slide" Id="rId12"></Relationship><Relationship Target="presProps.xml" Type="http://schemas.openxmlformats.org/officeDocument/2006/relationships/presProps" Id="rId17"></Relationship><Relationship Target="../customXml/item2.xml" Type="http://schemas.openxmlformats.org/officeDocument/2006/relationships/customXml" Id="rId2"></Relationship><Relationship Target="tags/tag1.xml" Type="http://schemas.openxmlformats.org/officeDocument/2006/relationships/tags" Id="rId16"></Relationship><Relationship Target="tableStyles.xml" Type="http://schemas.openxmlformats.org/officeDocument/2006/relationships/tableStyles" Id="rId20"></Relationship><Relationship Target="../customXml/item1.xml" Type="http://schemas.openxmlformats.org/officeDocument/2006/relationships/customXml" Id="rId1"></Relationship><Relationship Target="slides/slide1.xml" Type="http://schemas.openxmlformats.org/officeDocument/2006/relationships/slide" Id="rId6"></Relationship><Relationship Target="slides/slide6.xml" Type="http://schemas.openxmlformats.org/officeDocument/2006/relationships/slide" Id="rId11"></Relationship><Relationship Target="slideMasters/slideMaster2.xml" Type="http://schemas.openxmlformats.org/officeDocument/2006/relationships/slideMaster" Id="rId5"></Relationship><Relationship Target="handoutMasters/handoutMaster1.xml" Type="http://schemas.openxmlformats.org/officeDocument/2006/relationships/handoutMaster" Id="rId15"></Relationship><Relationship Target="slides/slide5.xml" Type="http://schemas.openxmlformats.org/officeDocument/2006/relationships/slide" Id="rId10"></Relationship><Relationship Target="theme/theme1.xml" Type="http://schemas.openxmlformats.org/officeDocument/2006/relationships/theme" Id="rId19"></Relationship><Relationship Target="slideMasters/slideMaster1.xml" Type="http://schemas.openxmlformats.org/officeDocument/2006/relationships/slideMaster" Id="rId4"></Relationship><Relationship Target="slides/slide4.xml" Type="http://schemas.openxmlformats.org/officeDocument/2006/relationships/slide" Id="rId9"></Relationship><Relationship Target="notesMasters/notesMaster1.xml" Type="http://schemas.openxmlformats.org/officeDocument/2006/relationships/notesMaster" Id="rId14"></Relationship><Relationship Target="revisionInfo.xml" Type="http://schemas.microsoft.com/office/2015/10/relationships/revisionInfo" Id="rId22"></Relationship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re Forstnerič" userId="c1b2008b-09f4-44a2-afa4-312eb475a6c3" providerId="ADAL" clId="{803ED08C-0D36-47EF-99E4-B64267BE2012}"/>
    <pc:docChg chg="custSel delSld modSld">
      <pc:chgData name="Jure Forstnerič" userId="c1b2008b-09f4-44a2-afa4-312eb475a6c3" providerId="ADAL" clId="{803ED08C-0D36-47EF-99E4-B64267BE2012}" dt="2023-05-24T14:04:58.706" v="74" actId="20577"/>
      <pc:docMkLst>
        <pc:docMk/>
      </pc:docMkLst>
      <pc:sldChg chg="modSp del mod">
        <pc:chgData name="Jure Forstnerič" userId="c1b2008b-09f4-44a2-afa4-312eb475a6c3" providerId="ADAL" clId="{803ED08C-0D36-47EF-99E4-B64267BE2012}" dt="2023-05-24T14:00:34.669" v="10" actId="47"/>
        <pc:sldMkLst>
          <pc:docMk/>
          <pc:sldMk cId="3845492043" sldId="2147479978"/>
        </pc:sldMkLst>
        <pc:spChg chg="mod">
          <ac:chgData name="Jure Forstnerič" userId="c1b2008b-09f4-44a2-afa4-312eb475a6c3" providerId="ADAL" clId="{803ED08C-0D36-47EF-99E4-B64267BE2012}" dt="2023-05-24T13:56:36.594" v="7" actId="20577"/>
          <ac:spMkLst>
            <pc:docMk/>
            <pc:sldMk cId="3845492043" sldId="2147479978"/>
            <ac:spMk id="2" creationId="{C926BB6E-B746-9B47-F247-DF83DA933F35}"/>
          </ac:spMkLst>
        </pc:spChg>
        <pc:spChg chg="mod">
          <ac:chgData name="Jure Forstnerič" userId="c1b2008b-09f4-44a2-afa4-312eb475a6c3" providerId="ADAL" clId="{803ED08C-0D36-47EF-99E4-B64267BE2012}" dt="2023-05-24T13:56:40.669" v="9" actId="20577"/>
          <ac:spMkLst>
            <pc:docMk/>
            <pc:sldMk cId="3845492043" sldId="2147479978"/>
            <ac:spMk id="15" creationId="{22FCB178-0AA6-4585-A658-588A64B99390}"/>
          </ac:spMkLst>
        </pc:spChg>
      </pc:sldChg>
      <pc:sldChg chg="modSp mod">
        <pc:chgData name="Jure Forstnerič" userId="c1b2008b-09f4-44a2-afa4-312eb475a6c3" providerId="ADAL" clId="{803ED08C-0D36-47EF-99E4-B64267BE2012}" dt="2023-05-24T10:19:35.126" v="0" actId="20577"/>
        <pc:sldMkLst>
          <pc:docMk/>
          <pc:sldMk cId="2142912800" sldId="2147479985"/>
        </pc:sldMkLst>
        <pc:spChg chg="mod">
          <ac:chgData name="Jure Forstnerič" userId="c1b2008b-09f4-44a2-afa4-312eb475a6c3" providerId="ADAL" clId="{803ED08C-0D36-47EF-99E4-B64267BE2012}" dt="2023-05-24T10:19:35.126" v="0" actId="20577"/>
          <ac:spMkLst>
            <pc:docMk/>
            <pc:sldMk cId="2142912800" sldId="2147479985"/>
            <ac:spMk id="5" creationId="{5501DA6C-8B2A-ACA9-2423-1C0FFA9761C1}"/>
          </ac:spMkLst>
        </pc:spChg>
      </pc:sldChg>
      <pc:sldChg chg="modSp mod">
        <pc:chgData name="Jure Forstnerič" userId="c1b2008b-09f4-44a2-afa4-312eb475a6c3" providerId="ADAL" clId="{803ED08C-0D36-47EF-99E4-B64267BE2012}" dt="2023-05-24T14:01:48.116" v="11" actId="20577"/>
        <pc:sldMkLst>
          <pc:docMk/>
          <pc:sldMk cId="3488087023" sldId="2147479986"/>
        </pc:sldMkLst>
        <pc:spChg chg="mod">
          <ac:chgData name="Jure Forstnerič" userId="c1b2008b-09f4-44a2-afa4-312eb475a6c3" providerId="ADAL" clId="{803ED08C-0D36-47EF-99E4-B64267BE2012}" dt="2023-05-24T14:01:48.116" v="11" actId="20577"/>
          <ac:spMkLst>
            <pc:docMk/>
            <pc:sldMk cId="3488087023" sldId="2147479986"/>
            <ac:spMk id="2" creationId="{24697EF9-D833-508E-D9C8-F7D59DAAD619}"/>
          </ac:spMkLst>
        </pc:spChg>
      </pc:sldChg>
      <pc:sldChg chg="modSp mod">
        <pc:chgData name="Jure Forstnerič" userId="c1b2008b-09f4-44a2-afa4-312eb475a6c3" providerId="ADAL" clId="{803ED08C-0D36-47EF-99E4-B64267BE2012}" dt="2023-05-24T14:04:58.706" v="74" actId="20577"/>
        <pc:sldMkLst>
          <pc:docMk/>
          <pc:sldMk cId="3501083268" sldId="2147479987"/>
        </pc:sldMkLst>
        <pc:spChg chg="mod">
          <ac:chgData name="Jure Forstnerič" userId="c1b2008b-09f4-44a2-afa4-312eb475a6c3" providerId="ADAL" clId="{803ED08C-0D36-47EF-99E4-B64267BE2012}" dt="2023-05-24T14:04:58.706" v="74" actId="20577"/>
          <ac:spMkLst>
            <pc:docMk/>
            <pc:sldMk cId="3501083268" sldId="2147479987"/>
            <ac:spMk id="2" creationId="{24697EF9-D833-508E-D9C8-F7D59DAAD619}"/>
          </ac:spMkLst>
        </pc:spChg>
      </pc:sldChg>
    </pc:docChg>
  </pc:docChgLst>
  <pc:docChgLst>
    <pc:chgData name="Gasper Vilic" userId="bc17494a-9be2-4735-9667-3bde990e8121" providerId="ADAL" clId="{E7DCB7A4-D718-4D3F-AF3A-A68C42F15078}"/>
    <pc:docChg chg="undo custSel addSld delSld modSld">
      <pc:chgData name="Gasper Vilic" userId="bc17494a-9be2-4735-9667-3bde990e8121" providerId="ADAL" clId="{E7DCB7A4-D718-4D3F-AF3A-A68C42F15078}" dt="2023-05-24T14:19:06.741" v="618" actId="113"/>
      <pc:docMkLst>
        <pc:docMk/>
      </pc:docMkLst>
      <pc:sldChg chg="addSp modSp mod">
        <pc:chgData name="Gasper Vilic" userId="bc17494a-9be2-4735-9667-3bde990e8121" providerId="ADAL" clId="{E7DCB7A4-D718-4D3F-AF3A-A68C42F15078}" dt="2023-05-24T14:18:05.866" v="590" actId="20577"/>
        <pc:sldMkLst>
          <pc:docMk/>
          <pc:sldMk cId="3354827464" sldId="2147479964"/>
        </pc:sldMkLst>
        <pc:spChg chg="mod">
          <ac:chgData name="Gasper Vilic" userId="bc17494a-9be2-4735-9667-3bde990e8121" providerId="ADAL" clId="{E7DCB7A4-D718-4D3F-AF3A-A68C42F15078}" dt="2023-05-24T14:18:05.866" v="590" actId="20577"/>
          <ac:spMkLst>
            <pc:docMk/>
            <pc:sldMk cId="3354827464" sldId="2147479964"/>
            <ac:spMk id="3" creationId="{08EC0318-3264-EA5A-1FA0-1900A72245E4}"/>
          </ac:spMkLst>
        </pc:spChg>
        <pc:picChg chg="add mod">
          <ac:chgData name="Gasper Vilic" userId="bc17494a-9be2-4735-9667-3bde990e8121" providerId="ADAL" clId="{E7DCB7A4-D718-4D3F-AF3A-A68C42F15078}" dt="2023-05-24T06:28:06.723" v="422" actId="1076"/>
          <ac:picMkLst>
            <pc:docMk/>
            <pc:sldMk cId="3354827464" sldId="2147479964"/>
            <ac:picMk id="1026" creationId="{7E96A95B-0ADB-409C-1160-383FEA8D826E}"/>
          </ac:picMkLst>
        </pc:picChg>
      </pc:sldChg>
      <pc:sldChg chg="modSp mod">
        <pc:chgData name="Gasper Vilic" userId="bc17494a-9be2-4735-9667-3bde990e8121" providerId="ADAL" clId="{E7DCB7A4-D718-4D3F-AF3A-A68C42F15078}" dt="2023-05-24T06:07:12.497" v="173" actId="20577"/>
        <pc:sldMkLst>
          <pc:docMk/>
          <pc:sldMk cId="3845492043" sldId="2147479978"/>
        </pc:sldMkLst>
        <pc:spChg chg="mod">
          <ac:chgData name="Gasper Vilic" userId="bc17494a-9be2-4735-9667-3bde990e8121" providerId="ADAL" clId="{E7DCB7A4-D718-4D3F-AF3A-A68C42F15078}" dt="2023-05-24T06:07:12.497" v="173" actId="20577"/>
          <ac:spMkLst>
            <pc:docMk/>
            <pc:sldMk cId="3845492043" sldId="2147479978"/>
            <ac:spMk id="2" creationId="{C926BB6E-B746-9B47-F247-DF83DA933F35}"/>
          </ac:spMkLst>
        </pc:spChg>
      </pc:sldChg>
      <pc:sldChg chg="modSp mod">
        <pc:chgData name="Gasper Vilic" userId="bc17494a-9be2-4735-9667-3bde990e8121" providerId="ADAL" clId="{E7DCB7A4-D718-4D3F-AF3A-A68C42F15078}" dt="2023-05-24T14:15:25.303" v="493" actId="15"/>
        <pc:sldMkLst>
          <pc:docMk/>
          <pc:sldMk cId="1249263270" sldId="2147479979"/>
        </pc:sldMkLst>
        <pc:spChg chg="mod">
          <ac:chgData name="Gasper Vilic" userId="bc17494a-9be2-4735-9667-3bde990e8121" providerId="ADAL" clId="{E7DCB7A4-D718-4D3F-AF3A-A68C42F15078}" dt="2023-05-24T14:15:25.303" v="493" actId="15"/>
          <ac:spMkLst>
            <pc:docMk/>
            <pc:sldMk cId="1249263270" sldId="2147479979"/>
            <ac:spMk id="2" creationId="{24697EF9-D833-508E-D9C8-F7D59DAAD619}"/>
          </ac:spMkLst>
        </pc:spChg>
      </pc:sldChg>
      <pc:sldChg chg="modSp mod">
        <pc:chgData name="Gasper Vilic" userId="bc17494a-9be2-4735-9667-3bde990e8121" providerId="ADAL" clId="{E7DCB7A4-D718-4D3F-AF3A-A68C42F15078}" dt="2023-05-24T06:00:19.798" v="22" actId="20577"/>
        <pc:sldMkLst>
          <pc:docMk/>
          <pc:sldMk cId="2867142570" sldId="2147479984"/>
        </pc:sldMkLst>
        <pc:spChg chg="mod">
          <ac:chgData name="Gasper Vilic" userId="bc17494a-9be2-4735-9667-3bde990e8121" providerId="ADAL" clId="{E7DCB7A4-D718-4D3F-AF3A-A68C42F15078}" dt="2023-05-24T06:00:19.798" v="22" actId="20577"/>
          <ac:spMkLst>
            <pc:docMk/>
            <pc:sldMk cId="2867142570" sldId="2147479984"/>
            <ac:spMk id="3" creationId="{08EC0318-3264-EA5A-1FA0-1900A72245E4}"/>
          </ac:spMkLst>
        </pc:spChg>
        <pc:picChg chg="mod">
          <ac:chgData name="Gasper Vilic" userId="bc17494a-9be2-4735-9667-3bde990e8121" providerId="ADAL" clId="{E7DCB7A4-D718-4D3F-AF3A-A68C42F15078}" dt="2023-05-24T06:00:16.703" v="20" actId="1076"/>
          <ac:picMkLst>
            <pc:docMk/>
            <pc:sldMk cId="2867142570" sldId="2147479984"/>
            <ac:picMk id="1028" creationId="{04B92A88-083F-049B-8C13-F9FEC4BDB88F}"/>
          </ac:picMkLst>
        </pc:picChg>
        <pc:picChg chg="mod">
          <ac:chgData name="Gasper Vilic" userId="bc17494a-9be2-4735-9667-3bde990e8121" providerId="ADAL" clId="{E7DCB7A4-D718-4D3F-AF3A-A68C42F15078}" dt="2023-05-24T06:00:17.942" v="21" actId="1076"/>
          <ac:picMkLst>
            <pc:docMk/>
            <pc:sldMk cId="2867142570" sldId="2147479984"/>
            <ac:picMk id="1032" creationId="{7270D628-E67F-B3DE-3F56-9EA1AF78435F}"/>
          </ac:picMkLst>
        </pc:picChg>
      </pc:sldChg>
      <pc:sldChg chg="addSp modSp mod">
        <pc:chgData name="Gasper Vilic" userId="bc17494a-9be2-4735-9667-3bde990e8121" providerId="ADAL" clId="{E7DCB7A4-D718-4D3F-AF3A-A68C42F15078}" dt="2023-05-24T14:19:06.741" v="618" actId="113"/>
        <pc:sldMkLst>
          <pc:docMk/>
          <pc:sldMk cId="2142912800" sldId="2147479985"/>
        </pc:sldMkLst>
        <pc:spChg chg="mod">
          <ac:chgData name="Gasper Vilic" userId="bc17494a-9be2-4735-9667-3bde990e8121" providerId="ADAL" clId="{E7DCB7A4-D718-4D3F-AF3A-A68C42F15078}" dt="2023-05-24T06:03:49.035" v="160" actId="122"/>
          <ac:spMkLst>
            <pc:docMk/>
            <pc:sldMk cId="2142912800" sldId="2147479985"/>
            <ac:spMk id="2" creationId="{C926BB6E-B746-9B47-F247-DF83DA933F35}"/>
          </ac:spMkLst>
        </pc:spChg>
        <pc:spChg chg="add mod">
          <ac:chgData name="Gasper Vilic" userId="bc17494a-9be2-4735-9667-3bde990e8121" providerId="ADAL" clId="{E7DCB7A4-D718-4D3F-AF3A-A68C42F15078}" dt="2023-05-24T14:18:46.936" v="602" actId="113"/>
          <ac:spMkLst>
            <pc:docMk/>
            <pc:sldMk cId="2142912800" sldId="2147479985"/>
            <ac:spMk id="5" creationId="{5501DA6C-8B2A-ACA9-2423-1C0FFA9761C1}"/>
          </ac:spMkLst>
        </pc:spChg>
        <pc:spChg chg="add mod">
          <ac:chgData name="Gasper Vilic" userId="bc17494a-9be2-4735-9667-3bde990e8121" providerId="ADAL" clId="{E7DCB7A4-D718-4D3F-AF3A-A68C42F15078}" dt="2023-05-24T14:19:06.741" v="618" actId="113"/>
          <ac:spMkLst>
            <pc:docMk/>
            <pc:sldMk cId="2142912800" sldId="2147479985"/>
            <ac:spMk id="6" creationId="{9530DDAF-E0B0-F368-CD10-6F641AF23B00}"/>
          </ac:spMkLst>
        </pc:spChg>
        <pc:cxnChg chg="add">
          <ac:chgData name="Gasper Vilic" userId="bc17494a-9be2-4735-9667-3bde990e8121" providerId="ADAL" clId="{E7DCB7A4-D718-4D3F-AF3A-A68C42F15078}" dt="2023-05-24T06:04:05.135" v="161" actId="11529"/>
          <ac:cxnSpMkLst>
            <pc:docMk/>
            <pc:sldMk cId="2142912800" sldId="2147479985"/>
            <ac:cxnSpMk id="8" creationId="{D211EAB8-7169-64E9-E8D7-991E9FD62068}"/>
          </ac:cxnSpMkLst>
        </pc:cxnChg>
        <pc:cxnChg chg="add mod">
          <ac:chgData name="Gasper Vilic" userId="bc17494a-9be2-4735-9667-3bde990e8121" providerId="ADAL" clId="{E7DCB7A4-D718-4D3F-AF3A-A68C42F15078}" dt="2023-05-24T06:04:13.585" v="164" actId="1076"/>
          <ac:cxnSpMkLst>
            <pc:docMk/>
            <pc:sldMk cId="2142912800" sldId="2147479985"/>
            <ac:cxnSpMk id="10" creationId="{EB4C2555-893A-EE82-7642-D90EC00B6E8C}"/>
          </ac:cxnSpMkLst>
        </pc:cxnChg>
      </pc:sldChg>
      <pc:sldChg chg="modSp mod">
        <pc:chgData name="Gasper Vilic" userId="bc17494a-9be2-4735-9667-3bde990e8121" providerId="ADAL" clId="{E7DCB7A4-D718-4D3F-AF3A-A68C42F15078}" dt="2023-05-24T14:15:51.200" v="494" actId="20577"/>
        <pc:sldMkLst>
          <pc:docMk/>
          <pc:sldMk cId="3488087023" sldId="2147479986"/>
        </pc:sldMkLst>
        <pc:spChg chg="mod">
          <ac:chgData name="Gasper Vilic" userId="bc17494a-9be2-4735-9667-3bde990e8121" providerId="ADAL" clId="{E7DCB7A4-D718-4D3F-AF3A-A68C42F15078}" dt="2023-05-24T14:15:51.200" v="494" actId="20577"/>
          <ac:spMkLst>
            <pc:docMk/>
            <pc:sldMk cId="3488087023" sldId="2147479986"/>
            <ac:spMk id="2" creationId="{24697EF9-D833-508E-D9C8-F7D59DAAD619}"/>
          </ac:spMkLst>
        </pc:spChg>
      </pc:sldChg>
      <pc:sldChg chg="modSp add mod">
        <pc:chgData name="Gasper Vilic" userId="bc17494a-9be2-4735-9667-3bde990e8121" providerId="ADAL" clId="{E7DCB7A4-D718-4D3F-AF3A-A68C42F15078}" dt="2023-05-24T14:17:12.401" v="503" actId="20577"/>
        <pc:sldMkLst>
          <pc:docMk/>
          <pc:sldMk cId="3501083268" sldId="2147479987"/>
        </pc:sldMkLst>
        <pc:spChg chg="mod">
          <ac:chgData name="Gasper Vilic" userId="bc17494a-9be2-4735-9667-3bde990e8121" providerId="ADAL" clId="{E7DCB7A4-D718-4D3F-AF3A-A68C42F15078}" dt="2023-05-24T14:17:09.379" v="498" actId="1076"/>
          <ac:spMkLst>
            <pc:docMk/>
            <pc:sldMk cId="3501083268" sldId="2147479987"/>
            <ac:spMk id="2" creationId="{24697EF9-D833-508E-D9C8-F7D59DAAD619}"/>
          </ac:spMkLst>
        </pc:spChg>
        <pc:spChg chg="mod">
          <ac:chgData name="Gasper Vilic" userId="bc17494a-9be2-4735-9667-3bde990e8121" providerId="ADAL" clId="{E7DCB7A4-D718-4D3F-AF3A-A68C42F15078}" dt="2023-05-24T14:17:12.401" v="503" actId="20577"/>
          <ac:spMkLst>
            <pc:docMk/>
            <pc:sldMk cId="3501083268" sldId="2147479987"/>
            <ac:spMk id="15" creationId="{22FCB178-0AA6-4585-A658-588A64B99390}"/>
          </ac:spMkLst>
        </pc:spChg>
      </pc:sldChg>
      <pc:sldChg chg="addSp delSp modSp add del mod">
        <pc:chgData name="Gasper Vilic" userId="bc17494a-9be2-4735-9667-3bde990e8121" providerId="ADAL" clId="{E7DCB7A4-D718-4D3F-AF3A-A68C42F15078}" dt="2023-05-24T06:30:11.630" v="470" actId="2696"/>
        <pc:sldMkLst>
          <pc:docMk/>
          <pc:sldMk cId="1491049541" sldId="2147479988"/>
        </pc:sldMkLst>
        <pc:spChg chg="add mod">
          <ac:chgData name="Gasper Vilic" userId="bc17494a-9be2-4735-9667-3bde990e8121" providerId="ADAL" clId="{E7DCB7A4-D718-4D3F-AF3A-A68C42F15078}" dt="2023-05-24T06:28:48.053" v="467" actId="6549"/>
          <ac:spMkLst>
            <pc:docMk/>
            <pc:sldMk cId="1491049541" sldId="2147479988"/>
            <ac:spMk id="2" creationId="{01196D32-EFE4-3A02-10D1-40C2B7E8D843}"/>
          </ac:spMkLst>
        </pc:spChg>
        <pc:spChg chg="del">
          <ac:chgData name="Gasper Vilic" userId="bc17494a-9be2-4735-9667-3bde990e8121" providerId="ADAL" clId="{E7DCB7A4-D718-4D3F-AF3A-A68C42F15078}" dt="2023-05-24T06:28:40.228" v="464" actId="478"/>
          <ac:spMkLst>
            <pc:docMk/>
            <pc:sldMk cId="1491049541" sldId="2147479988"/>
            <ac:spMk id="3" creationId="{08EC0318-3264-EA5A-1FA0-1900A72245E4}"/>
          </ac:spMkLst>
        </pc:spChg>
        <pc:picChg chg="add mod">
          <ac:chgData name="Gasper Vilic" userId="bc17494a-9be2-4735-9667-3bde990e8121" providerId="ADAL" clId="{E7DCB7A4-D718-4D3F-AF3A-A68C42F15078}" dt="2023-05-24T06:28:54.679" v="469" actId="1076"/>
          <ac:picMkLst>
            <pc:docMk/>
            <pc:sldMk cId="1491049541" sldId="2147479988"/>
            <ac:picMk id="4" creationId="{D3A0CE17-A050-1EB2-CC37-7EC56D18A398}"/>
          </ac:picMkLst>
        </pc:picChg>
        <pc:picChg chg="del">
          <ac:chgData name="Gasper Vilic" userId="bc17494a-9be2-4735-9667-3bde990e8121" providerId="ADAL" clId="{E7DCB7A4-D718-4D3F-AF3A-A68C42F15078}" dt="2023-05-24T06:28:35.941" v="462" actId="478"/>
          <ac:picMkLst>
            <pc:docMk/>
            <pc:sldMk cId="1491049541" sldId="2147479988"/>
            <ac:picMk id="1028" creationId="{04B92A88-083F-049B-8C13-F9FEC4BDB88F}"/>
          </ac:picMkLst>
        </pc:picChg>
        <pc:picChg chg="del">
          <ac:chgData name="Gasper Vilic" userId="bc17494a-9be2-4735-9667-3bde990e8121" providerId="ADAL" clId="{E7DCB7A4-D718-4D3F-AF3A-A68C42F15078}" dt="2023-05-24T06:28:36.623" v="463" actId="478"/>
          <ac:picMkLst>
            <pc:docMk/>
            <pc:sldMk cId="1491049541" sldId="2147479988"/>
            <ac:picMk id="1032" creationId="{7270D628-E67F-B3DE-3F56-9EA1AF78435F}"/>
          </ac:picMkLst>
        </pc:picChg>
      </pc:sldChg>
    </pc:docChg>
  </pc:docChgLst>
</pc:chgInfo>
</file>

<file path=ppt/handoutMasters/_rels/handoutMaster1.xml.rels><?xml version="1.0" encoding="UTF-8" ?><Relationships xmlns="http://schemas.openxmlformats.org/package/2006/relationships"><Relationship Target="../theme/theme4.xml" Type="http://schemas.openxmlformats.org/officeDocument/2006/relationships/theme" Id="rId1"></Relationship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9" cy="496412"/>
          </a:xfrm>
          <a:prstGeom prst="rect">
            <a:avLst/>
          </a:prstGeom>
        </p:spPr>
        <p:txBody>
          <a:bodyPr vert="horz" lIns="91435" tIns="45717" rIns="91435" bIns="4571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7" y="1"/>
            <a:ext cx="2945659" cy="496412"/>
          </a:xfrm>
          <a:prstGeom prst="rect">
            <a:avLst/>
          </a:prstGeom>
        </p:spPr>
        <p:txBody>
          <a:bodyPr vert="horz" lIns="91435" tIns="45717" rIns="91435" bIns="45717" rtlCol="0"/>
          <a:lstStyle>
            <a:lvl1pPr algn="r">
              <a:defRPr sz="1200"/>
            </a:lvl1pPr>
          </a:lstStyle>
          <a:p>
            <a:fld id="{EBF13B2C-CA49-494C-B493-6D59230F6830}" type="datetime1">
              <a:rPr lang="de-DE" smtClean="0"/>
              <a:t>24.05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" y="9430091"/>
            <a:ext cx="2945659" cy="496412"/>
          </a:xfrm>
          <a:prstGeom prst="rect">
            <a:avLst/>
          </a:prstGeom>
        </p:spPr>
        <p:txBody>
          <a:bodyPr vert="horz" lIns="91435" tIns="45717" rIns="91435" bIns="4571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7" y="9430091"/>
            <a:ext cx="2945659" cy="496412"/>
          </a:xfrm>
          <a:prstGeom prst="rect">
            <a:avLst/>
          </a:prstGeom>
        </p:spPr>
        <p:txBody>
          <a:bodyPr vert="horz" lIns="91435" tIns="45717" rIns="91435" bIns="45717" rtlCol="0" anchor="b"/>
          <a:lstStyle>
            <a:lvl1pPr algn="r">
              <a:defRPr sz="1200"/>
            </a:lvl1pPr>
          </a:lstStyle>
          <a:p>
            <a:fld id="{18DF6E62-A0A5-4C49-AAF2-A0FAC7CB681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911970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?><Relationships xmlns="http://schemas.openxmlformats.org/package/2006/relationships"><Relationship Target="../theme/theme3.xml" Type="http://schemas.openxmlformats.org/officeDocument/2006/relationships/theme" Id="rId1"></Relationship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9" cy="496412"/>
          </a:xfrm>
          <a:prstGeom prst="rect">
            <a:avLst/>
          </a:prstGeom>
        </p:spPr>
        <p:txBody>
          <a:bodyPr vert="horz" lIns="91435" tIns="45717" rIns="91435" bIns="4571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7" y="1"/>
            <a:ext cx="2945659" cy="496412"/>
          </a:xfrm>
          <a:prstGeom prst="rect">
            <a:avLst/>
          </a:prstGeom>
        </p:spPr>
        <p:txBody>
          <a:bodyPr vert="horz" lIns="91435" tIns="45717" rIns="91435" bIns="45717" rtlCol="0"/>
          <a:lstStyle>
            <a:lvl1pPr algn="r">
              <a:defRPr sz="1200"/>
            </a:lvl1pPr>
          </a:lstStyle>
          <a:p>
            <a:fld id="{A83AE078-206E-A742-BD6D-CDDF3B9F2036}" type="datetime1">
              <a:rPr lang="de-DE" smtClean="0"/>
              <a:t>24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7" rIns="91435" bIns="45717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2"/>
          </a:xfrm>
          <a:prstGeom prst="rect">
            <a:avLst/>
          </a:prstGeom>
        </p:spPr>
        <p:txBody>
          <a:bodyPr vert="horz" lIns="91435" tIns="45717" rIns="91435" bIns="45717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" y="9430091"/>
            <a:ext cx="2945659" cy="496412"/>
          </a:xfrm>
          <a:prstGeom prst="rect">
            <a:avLst/>
          </a:prstGeom>
        </p:spPr>
        <p:txBody>
          <a:bodyPr vert="horz" lIns="91435" tIns="45717" rIns="91435" bIns="4571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7" y="9430091"/>
            <a:ext cx="2945659" cy="496412"/>
          </a:xfrm>
          <a:prstGeom prst="rect">
            <a:avLst/>
          </a:prstGeom>
        </p:spPr>
        <p:txBody>
          <a:bodyPr vert="horz" lIns="91435" tIns="45717" rIns="91435" bIns="45717" rtlCol="0" anchor="b"/>
          <a:lstStyle>
            <a:lvl1pPr algn="r">
              <a:defRPr sz="1200"/>
            </a:lvl1pPr>
          </a:lstStyle>
          <a:p>
            <a:fld id="{099928D0-A1E5-48EF-80C8-040E54787C4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07940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9928D0-A1E5-48EF-80C8-040E54787C40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75003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9928D0-A1E5-48EF-80C8-040E54787C4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1558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9928D0-A1E5-48EF-80C8-040E54787C4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13160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9928D0-A1E5-48EF-80C8-040E54787C4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1084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9928D0-A1E5-48EF-80C8-040E54787C4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51166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9928D0-A1E5-48EF-80C8-040E54787C4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51867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9928D0-A1E5-48EF-80C8-040E54787C40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6332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9928D0-A1E5-48EF-80C8-040E54787C40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6524387"/>
      </p:ext>
    </p:extLst>
  </p:cSld>
  <p:clrMapOvr>
    <a:masterClrMapping/>
  </p:clrMapOvr>
</p:notes>
</file>

<file path=ppt/slideLayouts/_rels/slideLayout1.xml.rels><?xml version="1.0" encoding="UTF-8" ?><Relationships xmlns="http://schemas.openxmlformats.org/package/2006/relationships"><Relationship Target="../media/image2.jpeg" Type="http://schemas.openxmlformats.org/officeDocument/2006/relationships/image" Id="rId3"></Relationship><Relationship Target="../media/image1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_rels/slideLayout10.xml.rels><?xml version="1.0" encoding="UTF-8" ?><Relationships xmlns="http://schemas.openxmlformats.org/package/2006/relationships"><Relationship Target="../media/image2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_rels/slideLayout11.xml.rels><?xml version="1.0" encoding="UTF-8" ?><Relationships xmlns="http://schemas.openxmlformats.org/package/2006/relationships"><Relationship Target="../slideMasters/slideMaster1.xml" Type="http://schemas.openxmlformats.org/officeDocument/2006/relationships/slideMaster" Id="rId2"></Relationship><Relationship Target="../tags/tag2.xml" Type="http://schemas.openxmlformats.org/officeDocument/2006/relationships/tags" Id="rId1"></Relationship></Relationships>
</file>

<file path=ppt/slideLayouts/_rels/slideLayout12.xml.rels><?xml version="1.0" encoding="UTF-8" ?><Relationships xmlns="http://schemas.openxmlformats.org/package/2006/relationships"><Relationship Target="../media/image5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13.xml.rels><?xml version="1.0" encoding="UTF-8" ?><Relationships xmlns="http://schemas.openxmlformats.org/package/2006/relationships"><Relationship Target="../media/image6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14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15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16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17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18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19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2.xml.rels><?xml version="1.0" encoding="UTF-8" ?><Relationships xmlns="http://schemas.openxmlformats.org/package/2006/relationships"><Relationship Target="../media/image2.jpeg" Type="http://schemas.openxmlformats.org/officeDocument/2006/relationships/image" Id="rId3"></Relationship><Relationship Target="../media/image1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_rels/slideLayout20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21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22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23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24.xml.rels><?xml version="1.0" encoding="UTF-8" ?><Relationships xmlns="http://schemas.openxmlformats.org/package/2006/relationships"><Relationship Target="../media/image7.png" Type="http://schemas.openxmlformats.org/officeDocument/2006/relationships/image" Id="rId3"></Relationship><Relationship Target="../media/image4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25.xml.rels><?xml version="1.0" encoding="UTF-8" ?><Relationships xmlns="http://schemas.openxmlformats.org/package/2006/relationships"><Relationship Target="../media/image8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26.xml.rels><?xml version="1.0" encoding="UTF-8" ?><Relationships xmlns="http://schemas.openxmlformats.org/package/2006/relationships"><Relationship Target="../media/image9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27.xml.rels><?xml version="1.0" encoding="UTF-8" ?><Relationships xmlns="http://schemas.openxmlformats.org/package/2006/relationships"><Relationship Target="../media/image10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28.xml.rels><?xml version="1.0" encoding="UTF-8" ?><Relationships xmlns="http://schemas.openxmlformats.org/package/2006/relationships"><Relationship Target="../media/image11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29.xml.rels><?xml version="1.0" encoding="UTF-8" ?><Relationships xmlns="http://schemas.openxmlformats.org/package/2006/relationships"><Relationship Target="../media/image12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.xml.rels><?xml version="1.0" encoding="UTF-8" ?><Relationships xmlns="http://schemas.openxmlformats.org/package/2006/relationships"><Relationship Target="../media/image2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_rels/slideLayout30.xml.rels><?xml version="1.0" encoding="UTF-8" ?><Relationships xmlns="http://schemas.openxmlformats.org/package/2006/relationships"><Relationship Target="../media/image13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1.xml.rels><?xml version="1.0" encoding="UTF-8" ?><Relationships xmlns="http://schemas.openxmlformats.org/package/2006/relationships"><Relationship Target="../media/image14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2.xml.rels><?xml version="1.0" encoding="UTF-8" ?><Relationships xmlns="http://schemas.openxmlformats.org/package/2006/relationships"><Relationship Target="../media/image15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3.xml.rels><?xml version="1.0" encoding="UTF-8" ?><Relationships xmlns="http://schemas.openxmlformats.org/package/2006/relationships"><Relationship Target="../media/image16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4.xml.rels><?xml version="1.0" encoding="UTF-8" ?><Relationships xmlns="http://schemas.openxmlformats.org/package/2006/relationships"><Relationship Target="../media/image17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5.xml.rels><?xml version="1.0" encoding="UTF-8" ?><Relationships xmlns="http://schemas.openxmlformats.org/package/2006/relationships"><Relationship Target="../media/image18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6.xml.rels><?xml version="1.0" encoding="UTF-8" ?><Relationships xmlns="http://schemas.openxmlformats.org/package/2006/relationships"><Relationship Target="../media/image19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7.xml.rels><?xml version="1.0" encoding="UTF-8" ?><Relationships xmlns="http://schemas.openxmlformats.org/package/2006/relationships"><Relationship Target="../media/image20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8.xml.rels><?xml version="1.0" encoding="UTF-8" ?><Relationships xmlns="http://schemas.openxmlformats.org/package/2006/relationships"><Relationship Target="../media/image21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39.xml.rels><?xml version="1.0" encoding="UTF-8" ?><Relationships xmlns="http://schemas.openxmlformats.org/package/2006/relationships"><Relationship Target="../media/image22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.xml.rels><?xml version="1.0" encoding="UTF-8" ?><Relationships xmlns="http://schemas.openxmlformats.org/package/2006/relationships"><Relationship Target="../media/image2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_rels/slideLayout40.xml.rels><?xml version="1.0" encoding="UTF-8" ?><Relationships xmlns="http://schemas.openxmlformats.org/package/2006/relationships"><Relationship Target="../media/image23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1.xml.rels><?xml version="1.0" encoding="UTF-8" ?><Relationships xmlns="http://schemas.openxmlformats.org/package/2006/relationships"><Relationship Target="../media/image24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2.xml.rels><?xml version="1.0" encoding="UTF-8" ?><Relationships xmlns="http://schemas.openxmlformats.org/package/2006/relationships"><Relationship Target="../media/image25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3.xml.rels><?xml version="1.0" encoding="UTF-8" ?><Relationships xmlns="http://schemas.openxmlformats.org/package/2006/relationships"><Relationship Target="../media/image26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4.xml.rels><?xml version="1.0" encoding="UTF-8" ?><Relationships xmlns="http://schemas.openxmlformats.org/package/2006/relationships"><Relationship Target="../media/image27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5.xml.rels><?xml version="1.0" encoding="UTF-8" ?><Relationships xmlns="http://schemas.openxmlformats.org/package/2006/relationships"><Relationship Target="../media/image28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6.xml.rels><?xml version="1.0" encoding="UTF-8" ?><Relationships xmlns="http://schemas.openxmlformats.org/package/2006/relationships"><Relationship Target="../media/image29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7.xml.rels><?xml version="1.0" encoding="UTF-8" ?><Relationships xmlns="http://schemas.openxmlformats.org/package/2006/relationships"><Relationship Target="../media/image30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8.xml.rels><?xml version="1.0" encoding="UTF-8" ?><Relationships xmlns="http://schemas.openxmlformats.org/package/2006/relationships"><Relationship Target="../media/image31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49.xml.rels><?xml version="1.0" encoding="UTF-8" ?><Relationships xmlns="http://schemas.openxmlformats.org/package/2006/relationships"><Relationship Target="../media/image32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5.xml.rels><?xml version="1.0" encoding="UTF-8" ?><Relationships xmlns="http://schemas.openxmlformats.org/package/2006/relationships"><Relationship Target="../media/image2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_rels/slideLayout50.xml.rels><?xml version="1.0" encoding="UTF-8" ?><Relationships xmlns="http://schemas.openxmlformats.org/package/2006/relationships"><Relationship Target="../media/image33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51.xml.rels><?xml version="1.0" encoding="UTF-8" ?><Relationships xmlns="http://schemas.openxmlformats.org/package/2006/relationships"><Relationship Target="../media/image34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52.xml.rels><?xml version="1.0" encoding="UTF-8" ?><Relationships xmlns="http://schemas.openxmlformats.org/package/2006/relationships"><Relationship Target="../media/image5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53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54.xml.rels><?xml version="1.0" encoding="UTF-8" ?><Relationships xmlns="http://schemas.openxmlformats.org/package/2006/relationships"><Relationship Target="../media/image6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55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56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57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58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59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6.xml.rels><?xml version="1.0" encoding="UTF-8" ?><Relationships xmlns="http://schemas.openxmlformats.org/package/2006/relationships"><Relationship Target="../media/image2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_rels/slideLayout60.xml.rels><?xml version="1.0" encoding="UTF-8" ?><Relationships xmlns="http://schemas.openxmlformats.org/package/2006/relationships"><Relationship Target="../media/image35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61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62.xml.rels><?xml version="1.0" encoding="UTF-8" ?><Relationships xmlns="http://schemas.openxmlformats.org/package/2006/relationships"><Relationship Target="../media/image36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63.xml.rels><?xml version="1.0" encoding="UTF-8" ?><Relationships xmlns="http://schemas.openxmlformats.org/package/2006/relationships"><Relationship Target="../media/image37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64.xml.rels><?xml version="1.0" encoding="UTF-8" ?><Relationships xmlns="http://schemas.openxmlformats.org/package/2006/relationships"><Relationship Target="../media/image37.png" Type="http://schemas.openxmlformats.org/officeDocument/2006/relationships/image" Id="rId2"></Relationship><Relationship Target="../slideMasters/slideMaster2.xml" Type="http://schemas.openxmlformats.org/officeDocument/2006/relationships/slideMaster" Id="rId1"></Relationship></Relationships>
</file>

<file path=ppt/slideLayouts/_rels/slideLayout65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66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67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68.xml.rels><?xml version="1.0" encoding="UTF-8" ?><Relationships xmlns="http://schemas.openxmlformats.org/package/2006/relationships"><Relationship Target="../slideMasters/slideMaster2.xml" Type="http://schemas.openxmlformats.org/officeDocument/2006/relationships/slideMaster" Id="rId1"></Relationship></Relationships>
</file>

<file path=ppt/slideLayouts/_rels/slideLayout7.xml.rels><?xml version="1.0" encoding="UTF-8" ?><Relationships xmlns="http://schemas.openxmlformats.org/package/2006/relationships"><Relationship Target="../media/image2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_rels/slideLayout8.xml.rels><?xml version="1.0" encoding="UTF-8" ?><Relationships xmlns="http://schemas.openxmlformats.org/package/2006/relationships"><Relationship Target="../media/image2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_rels/slideLayout9.xml.rels><?xml version="1.0" encoding="UTF-8" ?><Relationships xmlns="http://schemas.openxmlformats.org/package/2006/relationships"><Relationship Target="../media/image2.jpeg" Type="http://schemas.openxmlformats.org/officeDocument/2006/relationships/image" Id="rId2"></Relationship><Relationship Target="../slideMasters/slideMaster1.xml" Type="http://schemas.openxmlformats.org/officeDocument/2006/relationships/slideMaster" Id="rId1"></Relationship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15343" y="2702860"/>
            <a:ext cx="10565549" cy="1122831"/>
          </a:xfrm>
        </p:spPr>
        <p:txBody>
          <a:bodyPr lIns="0" tIns="0" rIns="0" bIns="0" anchor="b">
            <a:normAutofit/>
          </a:bodyPr>
          <a:lstStyle>
            <a:lvl1pPr algn="l">
              <a:defRPr sz="4533"/>
            </a:lvl1pPr>
          </a:lstStyle>
          <a:p>
            <a:r>
              <a:rPr lang="en-US"/>
              <a:t>Add title by clicking 34 </a:t>
            </a:r>
            <a:r>
              <a:rPr lang="en-US" err="1"/>
              <a:t>pt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16143" y="3835402"/>
            <a:ext cx="10564749" cy="1114123"/>
          </a:xfrm>
        </p:spPr>
        <p:txBody>
          <a:bodyPr lIns="0" tIns="0" rIns="0" bIns="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Add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7A0057-5815-4814-9CB7-5F7DE41E16FD}" type="datetime1">
              <a:rPr lang="sl-SI" smtClean="0"/>
              <a:t>24. 05. 2023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9" name="Picture 8" descr="A picture containing drawing  Description automatically generated">
            <a:extLst>
              <a:ext uri="{FF2B5EF4-FFF2-40B4-BE49-F238E27FC236}">
                <a16:creationId xmlns:a16="http://schemas.microsoft.com/office/drawing/2014/main" id="{10850DDD-2994-47CF-A84D-C3ABE8A249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9641" y="212270"/>
            <a:ext cx="2401250" cy="48883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CA0A1D5-6E36-4437-B3FA-C661E57FEC97}"/>
              </a:ext>
            </a:extLst>
          </p:cNvPr>
          <p:cNvSpPr/>
          <p:nvPr userDrawn="1"/>
        </p:nvSpPr>
        <p:spPr>
          <a:xfrm>
            <a:off x="10344913" y="6369544"/>
            <a:ext cx="1083639" cy="432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2400"/>
          </a:p>
        </p:txBody>
      </p:sp>
      <p:pic>
        <p:nvPicPr>
          <p:cNvPr id="11" name="Picture 10" descr="A picture containing drawing  Description automatically generated">
            <a:extLst>
              <a:ext uri="{FF2B5EF4-FFF2-40B4-BE49-F238E27FC236}">
                <a16:creationId xmlns:a16="http://schemas.microsoft.com/office/drawing/2014/main" id="{E0EE84E6-A723-4E8C-9922-1DC0B4B18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5373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able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dd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5341" y="1268414"/>
            <a:ext cx="2497300" cy="864443"/>
          </a:xfrm>
          <a:solidFill>
            <a:srgbClr val="8AE872"/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lIns="72000" tIns="36000">
            <a:normAutofit/>
          </a:bodyPr>
          <a:lstStyle>
            <a:lvl1pPr marL="0" indent="0">
              <a:buFontTx/>
              <a:buNone/>
              <a:defRPr sz="2133">
                <a:solidFill>
                  <a:srgbClr val="3C3C3C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5838" y="2132856"/>
            <a:ext cx="2497300" cy="4104456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lIns="36000" tIns="36000">
            <a:normAutofit/>
          </a:bodyPr>
          <a:lstStyle>
            <a:lvl1pPr marL="191995" indent="-191995">
              <a:buClr>
                <a:srgbClr val="8AE872"/>
              </a:buClr>
              <a:buSzPct val="100000"/>
              <a:buFont typeface="Arial" pitchFamily="34" charset="0"/>
              <a:buChar char="−"/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505629" y="2132856"/>
            <a:ext cx="2497300" cy="4104456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lIns="36000" tIns="36000">
            <a:normAutofit/>
          </a:bodyPr>
          <a:lstStyle>
            <a:lvl1pPr marL="191995" indent="-191995">
              <a:buClr>
                <a:srgbClr val="8AE872"/>
              </a:buClr>
              <a:buSzPct val="100000"/>
              <a:buFont typeface="Arial" pitchFamily="34" charset="0"/>
              <a:buChar char="−"/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5420" y="2132856"/>
            <a:ext cx="2497300" cy="4104456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lIns="36000" tIns="36000">
            <a:normAutofit/>
          </a:bodyPr>
          <a:lstStyle>
            <a:lvl1pPr marL="191995" indent="-191995">
              <a:buClr>
                <a:srgbClr val="8AE872"/>
              </a:buClr>
              <a:buSzPct val="100000"/>
              <a:buFont typeface="Arial" pitchFamily="34" charset="0"/>
              <a:buChar char="−"/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885212" y="2132856"/>
            <a:ext cx="2497300" cy="4104456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lIns="36000" tIns="36000">
            <a:normAutofit/>
          </a:bodyPr>
          <a:lstStyle>
            <a:lvl1pPr marL="191995" indent="-191995">
              <a:buClr>
                <a:srgbClr val="8AE872"/>
              </a:buClr>
              <a:buSzPct val="100000"/>
              <a:buFont typeface="Arial" pitchFamily="34" charset="0"/>
              <a:buChar char="−"/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D117597-9354-4792-8FA9-B18BD9217DCA}" type="datetime1">
              <a:rPr lang="sl-SI" smtClean="0"/>
              <a:t>24. 05. 2023</a:t>
            </a:fld>
            <a:endParaRPr lang="de-CH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431CDB9F-0B4F-47D5-BD14-74A55C62AE4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5381" y="1266682"/>
            <a:ext cx="2497300" cy="864443"/>
          </a:xfrm>
          <a:solidFill>
            <a:srgbClr val="8AE872"/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lIns="72000" tIns="36000">
            <a:normAutofit/>
          </a:bodyPr>
          <a:lstStyle>
            <a:lvl1pPr marL="0" indent="0">
              <a:buFontTx/>
              <a:buNone/>
              <a:defRPr sz="2133">
                <a:solidFill>
                  <a:srgbClr val="3C3C3C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03D60873-2ED3-4276-A6E3-0E40251D39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95004" y="1266682"/>
            <a:ext cx="2497300" cy="864443"/>
          </a:xfrm>
          <a:solidFill>
            <a:srgbClr val="8AE872"/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lIns="72000" tIns="36000">
            <a:normAutofit/>
          </a:bodyPr>
          <a:lstStyle>
            <a:lvl1pPr marL="0" indent="0">
              <a:buFontTx/>
              <a:buNone/>
              <a:defRPr sz="2133">
                <a:solidFill>
                  <a:srgbClr val="3C3C3C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ED01B4D5-6BFD-4F2F-B2C6-3429E9C4CD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84626" y="1268414"/>
            <a:ext cx="2497300" cy="864443"/>
          </a:xfrm>
          <a:solidFill>
            <a:srgbClr val="8AE872"/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lIns="72000" tIns="36000">
            <a:normAutofit/>
          </a:bodyPr>
          <a:lstStyle>
            <a:lvl1pPr marL="0" indent="0">
              <a:buFontTx/>
              <a:buNone/>
              <a:defRPr sz="2133">
                <a:solidFill>
                  <a:srgbClr val="3C3C3C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pic>
        <p:nvPicPr>
          <p:cNvPr id="14" name="Picture 13" descr="A picture containing drawing  Description automatically generated">
            <a:extLst>
              <a:ext uri="{FF2B5EF4-FFF2-40B4-BE49-F238E27FC236}">
                <a16:creationId xmlns:a16="http://schemas.microsoft.com/office/drawing/2014/main" id="{C64DDB3E-9F48-46CF-9E83-19F0BDFCA9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03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folie">
    <p:bg>
      <p:bgPr>
        <a:solidFill>
          <a:srgbClr val="7E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true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90" y="1590"/>
            <a:ext cx="1588" cy="1587"/>
          </a:xfrm>
          <a:prstGeom prst="rect"/>
        </p:spPr>
      </p:pic>
    </p:spTree>
    <p:extLst>
      <p:ext uri="{BB962C8B-B14F-4D97-AF65-F5344CB8AC3E}">
        <p14:creationId xmlns:p14="http://schemas.microsoft.com/office/powerpoint/2010/main" val="3450286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4776987-94CF-421E-B6FD-C92087EB9E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8348" cy="68579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200776" y="765175"/>
            <a:ext cx="3097237" cy="2663825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4400"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itlemasterformat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200775" y="3789040"/>
            <a:ext cx="3097238" cy="1152128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 b="1"/>
            </a:lvl1pPr>
            <a:lvl2pPr marL="0" indent="0" algn="l">
              <a:spcBef>
                <a:spcPts val="0"/>
              </a:spcBef>
              <a:buNone/>
              <a:defRPr sz="2400" b="1"/>
            </a:lvl2pPr>
            <a:lvl3pPr marL="0" indent="0" algn="l">
              <a:spcBef>
                <a:spcPts val="0"/>
              </a:spcBef>
              <a:buNone/>
              <a:defRPr sz="2400" b="1"/>
            </a:lvl3pPr>
            <a:lvl4pPr marL="0" indent="0" algn="l">
              <a:spcBef>
                <a:spcPts val="0"/>
              </a:spcBef>
              <a:buNone/>
              <a:defRPr sz="2400" b="1"/>
            </a:lvl4pPr>
            <a:lvl5pPr marL="0" indent="0" algn="l">
              <a:spcBef>
                <a:spcPts val="0"/>
              </a:spcBef>
              <a:buNone/>
              <a:defRPr sz="2400" b="1"/>
            </a:lvl5pPr>
            <a:lvl6pPr marL="0" indent="0" algn="l">
              <a:spcBef>
                <a:spcPts val="0"/>
              </a:spcBef>
              <a:buNone/>
              <a:defRPr sz="2400" b="1"/>
            </a:lvl6pPr>
            <a:lvl7pPr marL="0" indent="0" algn="l">
              <a:spcBef>
                <a:spcPts val="0"/>
              </a:spcBef>
              <a:buNone/>
              <a:defRPr sz="2400" b="1"/>
            </a:lvl7pPr>
            <a:lvl8pPr marL="0" indent="0" algn="l">
              <a:spcBef>
                <a:spcPts val="0"/>
              </a:spcBef>
              <a:buNone/>
              <a:defRPr sz="2400" b="1"/>
            </a:lvl8pPr>
            <a:lvl9pPr marL="0" indent="0" algn="l">
              <a:spcBef>
                <a:spcPts val="0"/>
              </a:spcBef>
              <a:buNone/>
              <a:defRPr sz="2400" b="1"/>
            </a:lvl9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sty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master</a:t>
            </a:r>
            <a:endParaRPr lang="de-DE"/>
          </a:p>
        </p:txBody>
      </p:sp>
      <p:pic>
        <p:nvPicPr>
          <p:cNvPr id="5" name="Grafik 6">
            <a:extLst>
              <a:ext uri="{FF2B5EF4-FFF2-40B4-BE49-F238E27FC236}">
                <a16:creationId xmlns:a16="http://schemas.microsoft.com/office/drawing/2014/main" id="{5A252DDE-F13D-47A1-975B-B6488CF9C0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834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5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56">
          <p15:clr>
            <a:srgbClr val="9FCC3B"/>
          </p15:clr>
        </p15:guide>
        <p15:guide id="4" pos="2706">
          <p15:clr>
            <a:srgbClr val="9FCC3B"/>
          </p15:clr>
        </p15:guide>
        <p15:guide id="5" orient="horz" pos="482">
          <p15:clr>
            <a:srgbClr val="9FCC3B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70D494BE-5460-46AC-9363-4CC0E6A6CC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128407" y="1484976"/>
            <a:ext cx="3241080" cy="2448081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600"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Edit The Title </a:t>
            </a:r>
            <a:r>
              <a:rPr lang="de-DE" err="1"/>
              <a:t>master</a:t>
            </a:r>
            <a:r>
              <a:rPr lang="de-DE"/>
              <a:t>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128407" y="5517232"/>
            <a:ext cx="3241080" cy="647600"/>
          </a:xfrm>
        </p:spPr>
        <p:txBody>
          <a:bodyPr anchor="b" anchorCtr="0"/>
          <a:lstStyle>
            <a:lvl1pPr marL="0" indent="0" algn="l">
              <a:spcBef>
                <a:spcPts val="400"/>
              </a:spcBef>
              <a:buNone/>
              <a:defRPr sz="1400" b="1"/>
            </a:lvl1pPr>
            <a:lvl2pPr marL="0" indent="0" algn="l">
              <a:spcBef>
                <a:spcPts val="400"/>
              </a:spcBef>
              <a:buNone/>
              <a:defRPr sz="1400" b="1"/>
            </a:lvl2pPr>
            <a:lvl3pPr marL="0" indent="0" algn="l">
              <a:spcBef>
                <a:spcPts val="400"/>
              </a:spcBef>
              <a:buNone/>
              <a:defRPr sz="1400" b="1"/>
            </a:lvl3pPr>
            <a:lvl4pPr marL="0" indent="0" algn="l">
              <a:spcBef>
                <a:spcPts val="400"/>
              </a:spcBef>
              <a:buNone/>
              <a:defRPr sz="1400" b="1"/>
            </a:lvl4pPr>
            <a:lvl5pPr marL="0" indent="0" algn="l">
              <a:spcBef>
                <a:spcPts val="400"/>
              </a:spcBef>
              <a:buNone/>
              <a:defRPr sz="1400" b="1"/>
            </a:lvl5pPr>
            <a:lvl6pPr marL="0" indent="0" algn="l">
              <a:spcBef>
                <a:spcPts val="400"/>
              </a:spcBef>
              <a:buNone/>
              <a:defRPr sz="1400" b="1"/>
            </a:lvl6pPr>
            <a:lvl7pPr marL="0" indent="0" algn="l">
              <a:spcBef>
                <a:spcPts val="400"/>
              </a:spcBef>
              <a:buNone/>
              <a:defRPr sz="1400" b="1"/>
            </a:lvl7pPr>
            <a:lvl8pPr marL="0" indent="0" algn="l">
              <a:spcBef>
                <a:spcPts val="400"/>
              </a:spcBef>
              <a:buNone/>
              <a:defRPr sz="1400" b="1"/>
            </a:lvl8pPr>
            <a:lvl9pPr marL="0" indent="0" algn="l">
              <a:spcBef>
                <a:spcPts val="400"/>
              </a:spcBef>
              <a:buNone/>
              <a:defRPr sz="1400" b="1"/>
            </a:lvl9pPr>
          </a:lstStyle>
          <a:p>
            <a:r>
              <a:rPr lang="en-US"/>
              <a:t>Click to edit the subtitle master style</a:t>
            </a:r>
            <a:endParaRPr lang="de-DE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8602547E-4058-4D7D-9CC4-F7C6F5A9907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128035" y="4437113"/>
            <a:ext cx="3241080" cy="864095"/>
          </a:xfrm>
        </p:spPr>
        <p:txBody>
          <a:bodyPr/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3pPr>
            <a:lvl4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4pPr>
            <a:lvl5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5pPr>
            <a:lvl6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6pPr>
            <a:lvl7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7pPr>
            <a:lvl8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8pPr>
            <a:lvl9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master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461CA978-49C0-484F-B26D-FBD021E19A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749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">
          <p15:clr>
            <a:srgbClr val="9FCC3B"/>
          </p15:clr>
        </p15:guide>
        <p15:guide id="3" pos="2751">
          <p15:clr>
            <a:srgbClr val="9FCC3B"/>
          </p15:clr>
        </p15:guide>
        <p15:guide id="4" orient="horz" pos="935">
          <p15:clr>
            <a:srgbClr val="9FCC3B"/>
          </p15:clr>
        </p15:guide>
        <p15:guide id="5" orient="horz" pos="3884">
          <p15:clr>
            <a:srgbClr val="9FCC3B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51671" y="1268413"/>
            <a:ext cx="11093775" cy="446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master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91B5727-8CFE-43F5-AD61-435D82F77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4140452-C83A-4513-A2DB-EF22E2E25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EF9DEF-2376-44B3-898E-A817E0570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59821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52271" y="1268413"/>
            <a:ext cx="5402813" cy="446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master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243866" y="1268413"/>
            <a:ext cx="5402813" cy="446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master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911D103-09A7-4F52-91A2-C6ABF0EE7C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B651FB0-B3FA-4922-B23F-483E903CB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B2C18FF-9489-4CF7-AB30-571F92487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792409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3BC849-8355-4BAE-A390-941E24E0DA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1149" y="1268413"/>
            <a:ext cx="9366363" cy="446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EC1EC8E-50A0-4B9A-9010-A528B1B6114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5340E72-5164-44F1-B26F-6519E8D963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AB79EB4-CE6C-437E-A85D-4B5B6F72326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724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3BC849-8355-4BAE-A390-941E24E0DA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1149" y="1268413"/>
            <a:ext cx="9366363" cy="4464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ct val="110000"/>
              </a:lnSpc>
              <a:buFont typeface="Arial" panose="020B0604020202020204" pitchFamily="34" charset="0"/>
              <a:buNone/>
              <a:defRPr sz="1200"/>
            </a:lvl3pPr>
            <a:lvl4pPr marL="0" indent="0">
              <a:lnSpc>
                <a:spcPct val="110000"/>
              </a:lnSpc>
              <a:buFont typeface="Arial" panose="020B0604020202020204" pitchFamily="34" charset="0"/>
              <a:buNone/>
              <a:defRPr sz="1200"/>
            </a:lvl4pPr>
            <a:lvl5pPr marL="0" indent="0">
              <a:lnSpc>
                <a:spcPct val="110000"/>
              </a:lnSpc>
              <a:buFont typeface="Arial" panose="020B0604020202020204" pitchFamily="34" charset="0"/>
              <a:buNone/>
              <a:defRPr sz="1200"/>
            </a:lvl5pPr>
            <a:lvl6pPr marL="0" indent="0">
              <a:lnSpc>
                <a:spcPct val="110000"/>
              </a:lnSpc>
              <a:buNone/>
              <a:defRPr sz="1200"/>
            </a:lvl6pPr>
            <a:lvl7pPr marL="0" indent="0">
              <a:lnSpc>
                <a:spcPct val="110000"/>
              </a:lnSpc>
              <a:buNone/>
              <a:defRPr sz="1200"/>
            </a:lvl7pPr>
            <a:lvl8pPr marL="0" indent="0">
              <a:lnSpc>
                <a:spcPct val="110000"/>
              </a:lnSpc>
              <a:buNone/>
              <a:defRPr sz="1200"/>
            </a:lvl8pPr>
            <a:lvl9pPr marL="0" indent="0">
              <a:lnSpc>
                <a:spcPct val="110000"/>
              </a:lnSpc>
              <a:buNone/>
              <a:defRPr sz="120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18406B8-6D26-4FA6-8FAF-569CF3B7781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FF7C5FC-6674-4DE1-BF84-54C40970FBC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1ABA714-7F63-4F5D-B56D-B6E0CBA5A10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0684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B00079F-7173-4A26-AD3B-A5FE66E20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6C87776-3F4A-4358-9729-78E106DA3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0803EA5-E06D-47FD-80D1-50C6B5787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368185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966CEA7-C629-4091-A3BC-BD97FFA9B7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01EC830-D26A-4806-83EE-33DEC914C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D005317-5B2E-4873-8211-85ED3710B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67773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15343" y="1828740"/>
            <a:ext cx="10565549" cy="1122831"/>
          </a:xfrm>
        </p:spPr>
        <p:txBody>
          <a:bodyPr lIns="0" tIns="0" rIns="0" bIns="0" anchor="b">
            <a:normAutofit/>
          </a:bodyPr>
          <a:lstStyle>
            <a:lvl1pPr algn="l">
              <a:defRPr sz="4533"/>
            </a:lvl1pPr>
          </a:lstStyle>
          <a:p>
            <a:r>
              <a:rPr lang="en-US"/>
              <a:t>Add title by clicking 34 </a:t>
            </a:r>
            <a:r>
              <a:rPr lang="en-US" err="1"/>
              <a:t>pt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16143" y="2953562"/>
            <a:ext cx="10564749" cy="336177"/>
          </a:xfrm>
        </p:spPr>
        <p:txBody>
          <a:bodyPr lIns="0" tIns="0" rIns="0" bIns="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Add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9960627-A838-4938-9985-8B310BC9ABF0}" type="datetime1">
              <a:rPr lang="sl-SI" smtClean="0"/>
              <a:t>24. 05. 2023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7" hasCustomPrompt="1"/>
          </p:nvPr>
        </p:nvSpPr>
        <p:spPr>
          <a:xfrm>
            <a:off x="815345" y="3429002"/>
            <a:ext cx="10565549" cy="2809875"/>
          </a:xfrm>
        </p:spPr>
        <p:txBody>
          <a:bodyPr/>
          <a:lstStyle>
            <a:lvl1pPr>
              <a:buClr>
                <a:srgbClr val="8AE872"/>
              </a:buClr>
              <a:defRPr baseline="0"/>
            </a:lvl1pPr>
          </a:lstStyle>
          <a:p>
            <a:r>
              <a:rPr lang="de-CH"/>
              <a:t>Add </a:t>
            </a:r>
            <a:r>
              <a:rPr lang="de-CH" err="1"/>
              <a:t>picture</a:t>
            </a:r>
            <a:r>
              <a:rPr lang="de-CH"/>
              <a:t> </a:t>
            </a:r>
            <a:r>
              <a:rPr lang="de-CH" err="1"/>
              <a:t>by</a:t>
            </a:r>
            <a:r>
              <a:rPr lang="de-CH"/>
              <a:t> </a:t>
            </a:r>
            <a:r>
              <a:rPr lang="de-CH" err="1"/>
              <a:t>clicking</a:t>
            </a:r>
            <a:r>
              <a:rPr lang="de-CH"/>
              <a:t> on </a:t>
            </a:r>
            <a:r>
              <a:rPr lang="de-CH" err="1"/>
              <a:t>symbol</a:t>
            </a:r>
            <a:endParaRPr lang="de-CH"/>
          </a:p>
        </p:txBody>
      </p:sp>
      <p:pic>
        <p:nvPicPr>
          <p:cNvPr id="10" name="Picture 9" descr="A picture containing drawing  Description automatically generated">
            <a:extLst>
              <a:ext uri="{FF2B5EF4-FFF2-40B4-BE49-F238E27FC236}">
                <a16:creationId xmlns:a16="http://schemas.microsoft.com/office/drawing/2014/main" id="{870C0F64-D528-4E75-92F6-8876950FC2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9641" y="212270"/>
            <a:ext cx="2401250" cy="488833"/>
          </a:xfrm>
          <a:prstGeom prst="rect">
            <a:avLst/>
          </a:prstGeom>
        </p:spPr>
      </p:pic>
      <p:pic>
        <p:nvPicPr>
          <p:cNvPr id="11" name="Picture 10" descr="A picture containing drawing  Description automatically generated">
            <a:extLst>
              <a:ext uri="{FF2B5EF4-FFF2-40B4-BE49-F238E27FC236}">
                <a16:creationId xmlns:a16="http://schemas.microsoft.com/office/drawing/2014/main" id="{96902BE6-CE4A-454A-AB9A-DA9D513CE7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658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ent Slide -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D6634FC-AA98-4E15-9A99-2510646C9B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150" y="1268413"/>
            <a:ext cx="6772626" cy="44640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sz="1600" b="0"/>
            </a:lvl1pPr>
            <a:lvl2pPr marL="0" indent="0">
              <a:buNone/>
              <a:defRPr sz="1200" b="1"/>
            </a:lvl2pPr>
            <a:lvl3pPr marL="306000">
              <a:buClr>
                <a:schemeClr val="bg2"/>
              </a:buClr>
              <a:defRPr sz="1200"/>
            </a:lvl3pPr>
            <a:lvl4pPr marL="612000">
              <a:spcBef>
                <a:spcPts val="0"/>
              </a:spcBef>
              <a:defRPr sz="1200"/>
            </a:lvl4pPr>
            <a:lvl5pPr marL="612000">
              <a:spcBef>
                <a:spcPts val="0"/>
              </a:spcBef>
              <a:defRPr sz="1200"/>
            </a:lvl5pPr>
            <a:lvl6pPr marL="612000">
              <a:spcBef>
                <a:spcPts val="0"/>
              </a:spcBef>
              <a:defRPr sz="1200"/>
            </a:lvl6pPr>
            <a:lvl7pPr marL="612000">
              <a:spcBef>
                <a:spcPts val="0"/>
              </a:spcBef>
              <a:defRPr sz="1200"/>
            </a:lvl7pPr>
            <a:lvl8pPr marL="612000">
              <a:spcBef>
                <a:spcPts val="0"/>
              </a:spcBef>
              <a:defRPr sz="1200"/>
            </a:lvl8pPr>
            <a:lvl9pPr marL="612000">
              <a:spcBef>
                <a:spcPts val="0"/>
              </a:spcBef>
              <a:defRPr sz="120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0C8158-11D4-4B2D-B2A7-A9349BE3CA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12131" y="1268884"/>
            <a:ext cx="4034100" cy="4464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09CB429-0861-4FFE-8F6F-F41FE193D8A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F19795B-D5D6-4E47-A891-28086CBF6C5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C251E26-8188-4954-9AD4-39804CF9E1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113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ent Slide - 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D6634FC-AA98-4E15-9A99-2510646C9B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150" y="1268413"/>
            <a:ext cx="6772626" cy="44640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sz="1600" b="0"/>
            </a:lvl1pPr>
            <a:lvl2pPr marL="0" indent="0">
              <a:buNone/>
              <a:defRPr sz="1200" b="1"/>
            </a:lvl2pPr>
            <a:lvl3pPr marL="306000">
              <a:buClr>
                <a:schemeClr val="bg2"/>
              </a:buClr>
              <a:defRPr sz="1200"/>
            </a:lvl3pPr>
            <a:lvl4pPr marL="612000">
              <a:spcBef>
                <a:spcPts val="0"/>
              </a:spcBef>
              <a:defRPr sz="1200"/>
            </a:lvl4pPr>
            <a:lvl5pPr marL="612000">
              <a:spcBef>
                <a:spcPts val="0"/>
              </a:spcBef>
              <a:defRPr sz="1200"/>
            </a:lvl5pPr>
            <a:lvl6pPr marL="612000">
              <a:spcBef>
                <a:spcPts val="0"/>
              </a:spcBef>
              <a:defRPr sz="1200"/>
            </a:lvl6pPr>
            <a:lvl7pPr marL="612000">
              <a:spcBef>
                <a:spcPts val="0"/>
              </a:spcBef>
              <a:defRPr sz="1200"/>
            </a:lvl7pPr>
            <a:lvl8pPr marL="612000">
              <a:spcBef>
                <a:spcPts val="0"/>
              </a:spcBef>
              <a:defRPr sz="1200"/>
            </a:lvl8pPr>
            <a:lvl9pPr marL="612000">
              <a:spcBef>
                <a:spcPts val="0"/>
              </a:spcBef>
              <a:defRPr sz="120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0C8158-11D4-4B2D-B2A7-A9349BE3CA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12131" y="1268884"/>
            <a:ext cx="4034100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7CFA7588-0B15-49BF-85B0-DB4E5D336A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12131" y="3645256"/>
            <a:ext cx="4034100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B21EA70-ED8F-43D9-ADB4-36EA37D40FF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BB632B6-6F4C-4D49-8B42-D36BD4AE8C6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8710D55-7B04-42A0-BCBD-F73E4FE08F4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88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ent Slide - 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D6634FC-AA98-4E15-9A99-2510646C9B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150" y="1268413"/>
            <a:ext cx="6772626" cy="44640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sz="1600" b="0"/>
            </a:lvl1pPr>
            <a:lvl2pPr marL="0" indent="0">
              <a:buNone/>
              <a:defRPr sz="1200" b="1"/>
            </a:lvl2pPr>
            <a:lvl3pPr marL="306000">
              <a:buClr>
                <a:schemeClr val="bg2"/>
              </a:buClr>
              <a:defRPr sz="1200"/>
            </a:lvl3pPr>
            <a:lvl4pPr marL="612000">
              <a:spcBef>
                <a:spcPts val="0"/>
              </a:spcBef>
              <a:defRPr sz="1200"/>
            </a:lvl4pPr>
            <a:lvl5pPr marL="612000">
              <a:spcBef>
                <a:spcPts val="0"/>
              </a:spcBef>
              <a:defRPr sz="1200"/>
            </a:lvl5pPr>
            <a:lvl6pPr marL="612000">
              <a:spcBef>
                <a:spcPts val="0"/>
              </a:spcBef>
              <a:defRPr sz="1200"/>
            </a:lvl6pPr>
            <a:lvl7pPr marL="612000">
              <a:spcBef>
                <a:spcPts val="0"/>
              </a:spcBef>
              <a:defRPr sz="1200"/>
            </a:lvl7pPr>
            <a:lvl8pPr marL="612000">
              <a:spcBef>
                <a:spcPts val="0"/>
              </a:spcBef>
              <a:defRPr sz="1200"/>
            </a:lvl8pPr>
            <a:lvl9pPr marL="612000">
              <a:spcBef>
                <a:spcPts val="0"/>
              </a:spcBef>
              <a:defRPr sz="120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0C8158-11D4-4B2D-B2A7-A9349BE3CA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12131" y="1268884"/>
            <a:ext cx="4034100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3BAE8979-CE11-4DD8-A7FD-832E468355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12339" y="3645256"/>
            <a:ext cx="1872975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E0BA2079-3B0C-4B87-8802-2C99A4F2CD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73704" y="3645256"/>
            <a:ext cx="1872975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DF5C5FD-4D04-45D4-95CC-CC487AB7775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22A36BBC-B3E5-4911-A4BA-EDBCD2289AF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D04AAAA-4B21-4156-AF88-49D446A5C9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482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4586987-CEE6-4B52-A761-56F0629791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671" y="1268413"/>
            <a:ext cx="11093775" cy="4464000"/>
          </a:xfrm>
        </p:spPr>
        <p:txBody>
          <a:bodyPr numCol="2" spcCol="57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3C5AE2-A235-4281-B168-E31216CF9E4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3CEE0A2-EAF6-42E4-8615-30A2CC6B07E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D1C2C3A-587A-4A49-A1F5-00E6352D99D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236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385820DE-3A0D-42BA-8903-DD91393DAA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128" y="220822"/>
            <a:ext cx="3486679" cy="96140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00BBAE4-08E6-46E5-96CD-AF8BD8F6C4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4664" y="1182231"/>
            <a:ext cx="7596213" cy="4549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04593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549727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481024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585960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700932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540565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dd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815345" y="1255714"/>
            <a:ext cx="10565549" cy="4983163"/>
          </a:xfrm>
        </p:spPr>
        <p:txBody>
          <a:bodyPr/>
          <a:lstStyle>
            <a:lvl1pPr>
              <a:buClr>
                <a:srgbClr val="8AE872"/>
              </a:buClr>
              <a:defRPr/>
            </a:lvl1pPr>
            <a:lvl2pPr>
              <a:buClr>
                <a:srgbClr val="8AE872"/>
              </a:buClr>
              <a:defRPr baseline="0"/>
            </a:lvl2pPr>
            <a:lvl3pPr>
              <a:buClr>
                <a:srgbClr val="8AE872"/>
              </a:buClr>
              <a:defRPr/>
            </a:lvl3pPr>
          </a:lstStyle>
          <a:p>
            <a:pPr lvl="0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8 </a:t>
            </a:r>
            <a:r>
              <a:rPr lang="de-DE" err="1"/>
              <a:t>pt</a:t>
            </a:r>
            <a:endParaRPr lang="de-DE"/>
          </a:p>
          <a:p>
            <a:pPr lvl="2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hre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BA72C0D-F1EA-4540-A291-9C6556EB9C27}" type="datetime1">
              <a:rPr lang="sl-SI" smtClean="0"/>
              <a:t>24. 05. 2023</a:t>
            </a:fld>
            <a:endParaRPr lang="de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7" name="Picture 6" descr="A picture containing drawing  Description automatically generated">
            <a:extLst>
              <a:ext uri="{FF2B5EF4-FFF2-40B4-BE49-F238E27FC236}">
                <a16:creationId xmlns:a16="http://schemas.microsoft.com/office/drawing/2014/main" id="{05918AD3-CC0B-4C41-87F1-72EAB5448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3964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73893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862530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094076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170006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164833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23702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861480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20202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058205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531189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dd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815342" y="1255714"/>
            <a:ext cx="5182181" cy="4983163"/>
          </a:xfrm>
        </p:spPr>
        <p:txBody>
          <a:bodyPr/>
          <a:lstStyle>
            <a:lvl1pPr>
              <a:buClr>
                <a:srgbClr val="8AE872"/>
              </a:buClr>
              <a:defRPr sz="2667" baseline="0"/>
            </a:lvl1pPr>
            <a:lvl2pPr>
              <a:buClr>
                <a:srgbClr val="8AE872"/>
              </a:buClr>
              <a:defRPr sz="2400" baseline="0"/>
            </a:lvl2pPr>
            <a:lvl3pPr>
              <a:buClr>
                <a:srgbClr val="8AE872"/>
              </a:buClr>
              <a:defRPr sz="2133" baseline="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20</a:t>
            </a:r>
          </a:p>
          <a:p>
            <a:pPr lvl="1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8</a:t>
            </a:r>
          </a:p>
          <a:p>
            <a:pPr lvl="2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hre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6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200830" y="1255714"/>
            <a:ext cx="5190653" cy="4983163"/>
          </a:xfrm>
        </p:spPr>
        <p:txBody>
          <a:bodyPr/>
          <a:lstStyle>
            <a:lvl1pPr>
              <a:buClr>
                <a:srgbClr val="8AE872"/>
              </a:buClr>
              <a:defRPr sz="2667" baseline="0"/>
            </a:lvl1pPr>
            <a:lvl2pPr>
              <a:buClr>
                <a:srgbClr val="8AE872"/>
              </a:buClr>
              <a:defRPr sz="2400"/>
            </a:lvl2pPr>
            <a:lvl3pPr>
              <a:buClr>
                <a:srgbClr val="8AE872"/>
              </a:buClr>
              <a:defRPr sz="2133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20</a:t>
            </a:r>
          </a:p>
          <a:p>
            <a:pPr lvl="1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8</a:t>
            </a:r>
          </a:p>
          <a:p>
            <a:pPr lvl="2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hre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6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45E2E-D3BF-4826-91A5-B4C253E0A1D5}" type="datetime1">
              <a:rPr lang="sl-SI" smtClean="0"/>
              <a:t>24. 05. 2023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8" name="Picture 7" descr="A picture containing drawing  Description automatically generated">
            <a:extLst>
              <a:ext uri="{FF2B5EF4-FFF2-40B4-BE49-F238E27FC236}">
                <a16:creationId xmlns:a16="http://schemas.microsoft.com/office/drawing/2014/main" id="{3EAB0128-994E-4A98-B139-972EF9D741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182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562849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554003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102416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744435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347617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379094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724887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65176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636042"/>
      </p:ext>
    </p:extLst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93223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, content,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dd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815344" y="1255715"/>
            <a:ext cx="10567668" cy="2094877"/>
          </a:xfrm>
        </p:spPr>
        <p:txBody>
          <a:bodyPr/>
          <a:lstStyle>
            <a:lvl1pPr>
              <a:buClr>
                <a:srgbClr val="8AE872"/>
              </a:buClr>
              <a:defRPr/>
            </a:lvl1pPr>
            <a:lvl2pPr>
              <a:buClr>
                <a:srgbClr val="8AE872"/>
              </a:buClr>
              <a:defRPr/>
            </a:lvl2pPr>
            <a:lvl3pPr>
              <a:buClr>
                <a:srgbClr val="8AE872"/>
              </a:buClr>
              <a:defRPr/>
            </a:lvl3pPr>
          </a:lstStyle>
          <a:p>
            <a:pPr lvl="0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8 </a:t>
            </a:r>
            <a:r>
              <a:rPr lang="de-DE" err="1"/>
              <a:t>pt</a:t>
            </a:r>
            <a:endParaRPr lang="de-DE"/>
          </a:p>
          <a:p>
            <a:pPr lvl="2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hre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815345" y="3429002"/>
            <a:ext cx="10565549" cy="2809875"/>
          </a:xfrm>
        </p:spPr>
        <p:txBody>
          <a:bodyPr/>
          <a:lstStyle>
            <a:lvl1pPr>
              <a:buClr>
                <a:srgbClr val="8AE872"/>
              </a:buClr>
              <a:defRPr/>
            </a:lvl1pPr>
            <a:lvl2pPr>
              <a:buClr>
                <a:srgbClr val="8AE872"/>
              </a:buClr>
              <a:defRPr/>
            </a:lvl2pPr>
            <a:lvl3pPr>
              <a:buClr>
                <a:srgbClr val="8AE872"/>
              </a:buClr>
              <a:defRPr/>
            </a:lvl3pPr>
          </a:lstStyle>
          <a:p>
            <a:pPr lvl="0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8 </a:t>
            </a:r>
            <a:r>
              <a:rPr lang="de-DE" err="1"/>
              <a:t>pt</a:t>
            </a:r>
            <a:endParaRPr lang="de-DE"/>
          </a:p>
          <a:p>
            <a:pPr lvl="2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hre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43EA59C-9F6F-4DBA-9977-AEEEBB93AF94}" type="datetime1">
              <a:rPr lang="sl-SI" smtClean="0"/>
              <a:t>24. 05. 2023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9" name="Picture 8" descr="A picture containing drawing  Description automatically generated">
            <a:extLst>
              <a:ext uri="{FF2B5EF4-FFF2-40B4-BE49-F238E27FC236}">
                <a16:creationId xmlns:a16="http://schemas.microsoft.com/office/drawing/2014/main" id="{526CCAFB-6654-4CEE-8EB3-7296338655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4568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212792"/>
      </p:ext>
    </p:extLst>
  </p:cSld>
  <p:clrMapOvr>
    <a:masterClrMapping/>
  </p:clrMapOvr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Divider &amp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5F69543-704F-4BFD-8C90-D32BEA935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657700"/>
      </p:ext>
    </p:extLst>
  </p:cSld>
  <p:clrMapOvr>
    <a:masterClrMapping/>
  </p:clrMapOvr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4776987-94CF-421E-B6FD-C92087EB9E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8348" cy="68579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200776" y="765175"/>
            <a:ext cx="3097237" cy="2663825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4400"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itlemasterformat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200775" y="3789040"/>
            <a:ext cx="3097238" cy="1152128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 b="1"/>
            </a:lvl1pPr>
            <a:lvl2pPr marL="0" indent="0" algn="l">
              <a:spcBef>
                <a:spcPts val="0"/>
              </a:spcBef>
              <a:buNone/>
              <a:defRPr sz="2400" b="1"/>
            </a:lvl2pPr>
            <a:lvl3pPr marL="0" indent="0" algn="l">
              <a:spcBef>
                <a:spcPts val="0"/>
              </a:spcBef>
              <a:buNone/>
              <a:defRPr sz="2400" b="1"/>
            </a:lvl3pPr>
            <a:lvl4pPr marL="0" indent="0" algn="l">
              <a:spcBef>
                <a:spcPts val="0"/>
              </a:spcBef>
              <a:buNone/>
              <a:defRPr sz="2400" b="1"/>
            </a:lvl4pPr>
            <a:lvl5pPr marL="0" indent="0" algn="l">
              <a:spcBef>
                <a:spcPts val="0"/>
              </a:spcBef>
              <a:buNone/>
              <a:defRPr sz="2400" b="1"/>
            </a:lvl5pPr>
            <a:lvl6pPr marL="0" indent="0" algn="l">
              <a:spcBef>
                <a:spcPts val="0"/>
              </a:spcBef>
              <a:buNone/>
              <a:defRPr sz="2400" b="1"/>
            </a:lvl6pPr>
            <a:lvl7pPr marL="0" indent="0" algn="l">
              <a:spcBef>
                <a:spcPts val="0"/>
              </a:spcBef>
              <a:buNone/>
              <a:defRPr sz="2400" b="1"/>
            </a:lvl7pPr>
            <a:lvl8pPr marL="0" indent="0" algn="l">
              <a:spcBef>
                <a:spcPts val="0"/>
              </a:spcBef>
              <a:buNone/>
              <a:defRPr sz="2400" b="1"/>
            </a:lvl8pPr>
            <a:lvl9pPr marL="0" indent="0" algn="l">
              <a:spcBef>
                <a:spcPts val="0"/>
              </a:spcBef>
              <a:buNone/>
              <a:defRPr sz="2400" b="1"/>
            </a:lvl9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sty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mast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733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56">
          <p15:clr>
            <a:srgbClr val="9FCC3B"/>
          </p15:clr>
        </p15:guide>
        <p15:guide id="4" pos="2706">
          <p15:clr>
            <a:srgbClr val="9FCC3B"/>
          </p15:clr>
        </p15:guide>
        <p15:guide id="5" orient="horz" pos="482">
          <p15:clr>
            <a:srgbClr val="9FCC3B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3BC849-8355-4BAE-A390-941E24E0DA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1149" y="1268413"/>
            <a:ext cx="9366363" cy="446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 err="1"/>
              <a:t>third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EC1EC8E-50A0-4B9A-9010-A528B1B6114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5340E72-5164-44F1-B26F-6519E8D963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AB79EB4-CE6C-437E-A85D-4B5B6F72326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7872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70D494BE-5460-46AC-9363-4CC0E6A6C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8350" cy="68579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128407" y="1484976"/>
            <a:ext cx="3241080" cy="2448081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600"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Edit The Title </a:t>
            </a:r>
            <a:r>
              <a:rPr lang="de-DE" err="1"/>
              <a:t>master</a:t>
            </a:r>
            <a:r>
              <a:rPr lang="de-DE"/>
              <a:t>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128407" y="5517232"/>
            <a:ext cx="3241080" cy="647600"/>
          </a:xfrm>
        </p:spPr>
        <p:txBody>
          <a:bodyPr anchor="b" anchorCtr="0"/>
          <a:lstStyle>
            <a:lvl1pPr marL="0" indent="0" algn="l">
              <a:spcBef>
                <a:spcPts val="400"/>
              </a:spcBef>
              <a:buNone/>
              <a:defRPr sz="1400" b="1"/>
            </a:lvl1pPr>
            <a:lvl2pPr marL="0" indent="0" algn="l">
              <a:spcBef>
                <a:spcPts val="400"/>
              </a:spcBef>
              <a:buNone/>
              <a:defRPr sz="1400" b="1"/>
            </a:lvl2pPr>
            <a:lvl3pPr marL="0" indent="0" algn="l">
              <a:spcBef>
                <a:spcPts val="400"/>
              </a:spcBef>
              <a:buNone/>
              <a:defRPr sz="1400" b="1"/>
            </a:lvl3pPr>
            <a:lvl4pPr marL="0" indent="0" algn="l">
              <a:spcBef>
                <a:spcPts val="400"/>
              </a:spcBef>
              <a:buNone/>
              <a:defRPr sz="1400" b="1"/>
            </a:lvl4pPr>
            <a:lvl5pPr marL="0" indent="0" algn="l">
              <a:spcBef>
                <a:spcPts val="400"/>
              </a:spcBef>
              <a:buNone/>
              <a:defRPr sz="1400" b="1"/>
            </a:lvl5pPr>
            <a:lvl6pPr marL="0" indent="0" algn="l">
              <a:spcBef>
                <a:spcPts val="400"/>
              </a:spcBef>
              <a:buNone/>
              <a:defRPr sz="1400" b="1"/>
            </a:lvl6pPr>
            <a:lvl7pPr marL="0" indent="0" algn="l">
              <a:spcBef>
                <a:spcPts val="400"/>
              </a:spcBef>
              <a:buNone/>
              <a:defRPr sz="1400" b="1"/>
            </a:lvl7pPr>
            <a:lvl8pPr marL="0" indent="0" algn="l">
              <a:spcBef>
                <a:spcPts val="400"/>
              </a:spcBef>
              <a:buNone/>
              <a:defRPr sz="1400" b="1"/>
            </a:lvl8pPr>
            <a:lvl9pPr marL="0" indent="0" algn="l">
              <a:spcBef>
                <a:spcPts val="400"/>
              </a:spcBef>
              <a:buNone/>
              <a:defRPr sz="1400" b="1"/>
            </a:lvl9pPr>
          </a:lstStyle>
          <a:p>
            <a:r>
              <a:rPr lang="en-US"/>
              <a:t>Click to edit the subtitle master style</a:t>
            </a:r>
            <a:endParaRPr lang="de-DE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8602547E-4058-4D7D-9CC4-F7C6F5A9907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128035" y="4437113"/>
            <a:ext cx="3241080" cy="864095"/>
          </a:xfrm>
        </p:spPr>
        <p:txBody>
          <a:bodyPr/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3pPr>
            <a:lvl4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4pPr>
            <a:lvl5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5pPr>
            <a:lvl6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6pPr>
            <a:lvl7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7pPr>
            <a:lvl8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8pPr>
            <a:lvl9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master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8565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">
          <p15:clr>
            <a:srgbClr val="9FCC3B"/>
          </p15:clr>
        </p15:guide>
        <p15:guide id="3" pos="2751">
          <p15:clr>
            <a:srgbClr val="9FCC3B"/>
          </p15:clr>
        </p15:guide>
        <p15:guide id="4" orient="horz" pos="935">
          <p15:clr>
            <a:srgbClr val="9FCC3B"/>
          </p15:clr>
        </p15:guide>
        <p15:guide id="5" orient="horz" pos="3884">
          <p15:clr>
            <a:srgbClr val="9FCC3B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3BC849-8355-4BAE-A390-941E24E0DA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1149" y="1268413"/>
            <a:ext cx="9366363" cy="4464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ct val="110000"/>
              </a:lnSpc>
              <a:buFont typeface="Arial" panose="020B0604020202020204" pitchFamily="34" charset="0"/>
              <a:buNone/>
              <a:defRPr sz="1200"/>
            </a:lvl3pPr>
            <a:lvl4pPr marL="0" indent="0">
              <a:lnSpc>
                <a:spcPct val="110000"/>
              </a:lnSpc>
              <a:buFont typeface="Arial" panose="020B0604020202020204" pitchFamily="34" charset="0"/>
              <a:buNone/>
              <a:defRPr sz="1200"/>
            </a:lvl4pPr>
            <a:lvl5pPr marL="0" indent="0">
              <a:lnSpc>
                <a:spcPct val="110000"/>
              </a:lnSpc>
              <a:buFont typeface="Arial" panose="020B0604020202020204" pitchFamily="34" charset="0"/>
              <a:buNone/>
              <a:defRPr sz="1200"/>
            </a:lvl5pPr>
            <a:lvl6pPr marL="0" indent="0">
              <a:lnSpc>
                <a:spcPct val="110000"/>
              </a:lnSpc>
              <a:buNone/>
              <a:defRPr sz="1200"/>
            </a:lvl6pPr>
            <a:lvl7pPr marL="0" indent="0">
              <a:lnSpc>
                <a:spcPct val="110000"/>
              </a:lnSpc>
              <a:buNone/>
              <a:defRPr sz="1200"/>
            </a:lvl7pPr>
            <a:lvl8pPr marL="0" indent="0">
              <a:lnSpc>
                <a:spcPct val="110000"/>
              </a:lnSpc>
              <a:buNone/>
              <a:defRPr sz="1200"/>
            </a:lvl8pPr>
            <a:lvl9pPr marL="0" indent="0">
              <a:lnSpc>
                <a:spcPct val="110000"/>
              </a:lnSpc>
              <a:buNone/>
              <a:defRPr sz="120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18406B8-6D26-4FA6-8FAF-569CF3B7781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FF7C5FC-6674-4DE1-BF84-54C40970FBC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1ABA714-7F63-4F5D-B56D-B6E0CBA5A10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6809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 Slide -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D6634FC-AA98-4E15-9A99-2510646C9B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150" y="1268413"/>
            <a:ext cx="6772626" cy="44640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sz="1600" b="0"/>
            </a:lvl1pPr>
            <a:lvl2pPr marL="0" indent="0">
              <a:buNone/>
              <a:defRPr sz="1200" b="1"/>
            </a:lvl2pPr>
            <a:lvl3pPr marL="306000">
              <a:buClr>
                <a:schemeClr val="bg2"/>
              </a:buClr>
              <a:defRPr sz="1200"/>
            </a:lvl3pPr>
            <a:lvl4pPr marL="612000">
              <a:spcBef>
                <a:spcPts val="0"/>
              </a:spcBef>
              <a:defRPr sz="1200"/>
            </a:lvl4pPr>
            <a:lvl5pPr marL="612000">
              <a:spcBef>
                <a:spcPts val="0"/>
              </a:spcBef>
              <a:defRPr sz="1200"/>
            </a:lvl5pPr>
            <a:lvl6pPr marL="612000">
              <a:spcBef>
                <a:spcPts val="0"/>
              </a:spcBef>
              <a:defRPr sz="1200"/>
            </a:lvl6pPr>
            <a:lvl7pPr marL="612000">
              <a:spcBef>
                <a:spcPts val="0"/>
              </a:spcBef>
              <a:defRPr sz="1200"/>
            </a:lvl7pPr>
            <a:lvl8pPr marL="612000">
              <a:spcBef>
                <a:spcPts val="0"/>
              </a:spcBef>
              <a:defRPr sz="1200"/>
            </a:lvl8pPr>
            <a:lvl9pPr marL="612000">
              <a:spcBef>
                <a:spcPts val="0"/>
              </a:spcBef>
              <a:defRPr sz="120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0C8158-11D4-4B2D-B2A7-A9349BE3CA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12131" y="1268884"/>
            <a:ext cx="4034100" cy="4464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Add image by clicking on the symbol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09CB429-0861-4FFE-8F6F-F41FE193D8A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F19795B-D5D6-4E47-A891-28086CBF6C5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C251E26-8188-4954-9AD4-39804CF9E1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225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 Slide - 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D6634FC-AA98-4E15-9A99-2510646C9B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150" y="1268413"/>
            <a:ext cx="6772626" cy="44640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sz="1600" b="0"/>
            </a:lvl1pPr>
            <a:lvl2pPr marL="0" indent="0">
              <a:buNone/>
              <a:defRPr sz="1200" b="1"/>
            </a:lvl2pPr>
            <a:lvl3pPr marL="306000">
              <a:buClr>
                <a:schemeClr val="bg2"/>
              </a:buClr>
              <a:defRPr sz="1200"/>
            </a:lvl3pPr>
            <a:lvl4pPr marL="612000">
              <a:spcBef>
                <a:spcPts val="0"/>
              </a:spcBef>
              <a:defRPr sz="1200"/>
            </a:lvl4pPr>
            <a:lvl5pPr marL="612000">
              <a:spcBef>
                <a:spcPts val="0"/>
              </a:spcBef>
              <a:defRPr sz="1200"/>
            </a:lvl5pPr>
            <a:lvl6pPr marL="612000">
              <a:spcBef>
                <a:spcPts val="0"/>
              </a:spcBef>
              <a:defRPr sz="1200"/>
            </a:lvl6pPr>
            <a:lvl7pPr marL="612000">
              <a:spcBef>
                <a:spcPts val="0"/>
              </a:spcBef>
              <a:defRPr sz="1200"/>
            </a:lvl7pPr>
            <a:lvl8pPr marL="612000">
              <a:spcBef>
                <a:spcPts val="0"/>
              </a:spcBef>
              <a:defRPr sz="1200"/>
            </a:lvl8pPr>
            <a:lvl9pPr marL="612000">
              <a:spcBef>
                <a:spcPts val="0"/>
              </a:spcBef>
              <a:defRPr sz="120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0C8158-11D4-4B2D-B2A7-A9349BE3CA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12131" y="1268884"/>
            <a:ext cx="4034100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Add image by clicking on the symbol</a:t>
            </a:r>
            <a:endParaRPr lang="de-DE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7CFA7588-0B15-49BF-85B0-DB4E5D336A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12131" y="3645256"/>
            <a:ext cx="4034100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Add image by clicking on the symbol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B21EA70-ED8F-43D9-ADB4-36EA37D40FF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BB632B6-6F4C-4D49-8B42-D36BD4AE8C6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8710D55-7B04-42A0-BCBD-F73E4FE08F4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559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 Slide - 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D6634FC-AA98-4E15-9A99-2510646C9B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150" y="1268413"/>
            <a:ext cx="6772626" cy="44640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sz="1600" b="0"/>
            </a:lvl1pPr>
            <a:lvl2pPr marL="0" indent="0">
              <a:buNone/>
              <a:defRPr sz="1200" b="1"/>
            </a:lvl2pPr>
            <a:lvl3pPr marL="306000">
              <a:buClr>
                <a:schemeClr val="bg2"/>
              </a:buClr>
              <a:defRPr sz="1200"/>
            </a:lvl3pPr>
            <a:lvl4pPr marL="612000">
              <a:spcBef>
                <a:spcPts val="0"/>
              </a:spcBef>
              <a:defRPr sz="1200"/>
            </a:lvl4pPr>
            <a:lvl5pPr marL="612000">
              <a:spcBef>
                <a:spcPts val="0"/>
              </a:spcBef>
              <a:defRPr sz="1200"/>
            </a:lvl5pPr>
            <a:lvl6pPr marL="612000">
              <a:spcBef>
                <a:spcPts val="0"/>
              </a:spcBef>
              <a:defRPr sz="1200"/>
            </a:lvl6pPr>
            <a:lvl7pPr marL="612000">
              <a:spcBef>
                <a:spcPts val="0"/>
              </a:spcBef>
              <a:defRPr sz="1200"/>
            </a:lvl7pPr>
            <a:lvl8pPr marL="612000">
              <a:spcBef>
                <a:spcPts val="0"/>
              </a:spcBef>
              <a:defRPr sz="1200"/>
            </a:lvl8pPr>
            <a:lvl9pPr marL="612000">
              <a:spcBef>
                <a:spcPts val="0"/>
              </a:spcBef>
              <a:defRPr sz="120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0C8158-11D4-4B2D-B2A7-A9349BE3CA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12131" y="1268884"/>
            <a:ext cx="4034100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Add image by clicking on the symbol</a:t>
            </a:r>
            <a:endParaRPr lang="de-DE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3BAE8979-CE11-4DD8-A7FD-832E468355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12339" y="3645256"/>
            <a:ext cx="1872975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Add image by clicking on the symbol</a:t>
            </a:r>
            <a:endParaRPr lang="de-DE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E0BA2079-3B0C-4B87-8802-2C99A4F2CD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73704" y="3645256"/>
            <a:ext cx="1872975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Add image by clicking on the symbol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DF5C5FD-4D04-45D4-95CC-CC487AB7775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22A36BBC-B3E5-4911-A4BA-EDBCD2289AF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D04AAAA-4B21-4156-AF88-49D446A5C9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56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sty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4586987-CEE6-4B52-A761-56F0629791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671" y="1268413"/>
            <a:ext cx="11093775" cy="4464000"/>
          </a:xfrm>
        </p:spPr>
        <p:txBody>
          <a:bodyPr numCol="2" spcCol="57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style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3C5AE2-A235-4281-B168-E31216CF9E4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3CEE0A2-EAF6-42E4-8615-30A2CC6B07E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D1C2C3A-587A-4A49-A1F5-00E6352D99D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204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, content,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dd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5" name="Inhaltsplatzhalter 4"/>
          <p:cNvSpPr>
            <a:spLocks noGrp="1"/>
          </p:cNvSpPr>
          <p:nvPr>
            <p:ph sz="quarter" idx="14" hasCustomPrompt="1"/>
          </p:nvPr>
        </p:nvSpPr>
        <p:spPr>
          <a:xfrm>
            <a:off x="815342" y="1255714"/>
            <a:ext cx="7410073" cy="4983163"/>
          </a:xfrm>
        </p:spPr>
        <p:txBody>
          <a:bodyPr/>
          <a:lstStyle>
            <a:lvl1pPr>
              <a:buClr>
                <a:srgbClr val="8AE872"/>
              </a:buClr>
              <a:defRPr/>
            </a:lvl1pPr>
            <a:lvl2pPr>
              <a:buClr>
                <a:srgbClr val="8AE872"/>
              </a:buClr>
              <a:defRPr/>
            </a:lvl2pPr>
            <a:lvl3pPr>
              <a:buClr>
                <a:srgbClr val="8AE872"/>
              </a:buClr>
              <a:defRPr/>
            </a:lvl3pPr>
          </a:lstStyle>
          <a:p>
            <a:pPr lvl="0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8 </a:t>
            </a:r>
            <a:r>
              <a:rPr lang="de-DE" err="1"/>
              <a:t>pt</a:t>
            </a:r>
            <a:endParaRPr lang="de-DE"/>
          </a:p>
          <a:p>
            <a:pPr lvl="2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hre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8314363" y="1255714"/>
            <a:ext cx="3066529" cy="4983163"/>
          </a:xfrm>
        </p:spPr>
        <p:txBody>
          <a:bodyPr/>
          <a:lstStyle>
            <a:lvl1pPr>
              <a:buClr>
                <a:srgbClr val="8AE872"/>
              </a:buClr>
              <a:defRPr/>
            </a:lvl1pPr>
            <a:lvl2pPr>
              <a:buClr>
                <a:srgbClr val="8AE872"/>
              </a:buClr>
              <a:defRPr/>
            </a:lvl2pPr>
            <a:lvl3pPr>
              <a:buClr>
                <a:srgbClr val="8AE872"/>
              </a:buClr>
              <a:defRPr/>
            </a:lvl3pPr>
          </a:lstStyle>
          <a:p>
            <a:pPr lvl="0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8 </a:t>
            </a:r>
            <a:r>
              <a:rPr lang="de-DE" err="1"/>
              <a:t>pt</a:t>
            </a:r>
            <a:endParaRPr lang="de-DE"/>
          </a:p>
          <a:p>
            <a:pPr lvl="2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hre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1385F6-BB92-4F8D-99A0-07F7191BE375}" type="datetime1">
              <a:rPr lang="sl-SI" smtClean="0"/>
              <a:t>24. 05. 2023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9" name="Picture 8" descr="A picture containing drawing  Description automatically generated">
            <a:extLst>
              <a:ext uri="{FF2B5EF4-FFF2-40B4-BE49-F238E27FC236}">
                <a16:creationId xmlns:a16="http://schemas.microsoft.com/office/drawing/2014/main" id="{ECF87183-F0B6-40BB-AF88-0F8340FD33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3626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4776987-94CF-421E-B6FD-C92087EB9E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8348" cy="685799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127713" y="908051"/>
            <a:ext cx="3891400" cy="2520949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600">
                <a:latin typeface="Rois Bold" panose="00000805000000000000" pitchFamily="50" charset="0"/>
              </a:defRPr>
            </a:lvl1pPr>
          </a:lstStyle>
          <a:p>
            <a:r>
              <a:rPr lang="de-DE" err="1"/>
              <a:t>TiteL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127712" y="3789040"/>
            <a:ext cx="3891401" cy="93536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 b="1"/>
            </a:lvl1pPr>
            <a:lvl2pPr marL="0" indent="0" algn="l">
              <a:spcBef>
                <a:spcPts val="0"/>
              </a:spcBef>
              <a:buNone/>
              <a:defRPr sz="2400" b="1"/>
            </a:lvl2pPr>
            <a:lvl3pPr marL="0" indent="0" algn="l">
              <a:spcBef>
                <a:spcPts val="0"/>
              </a:spcBef>
              <a:buNone/>
              <a:defRPr sz="2400" b="1"/>
            </a:lvl3pPr>
            <a:lvl4pPr marL="0" indent="0" algn="l">
              <a:spcBef>
                <a:spcPts val="0"/>
              </a:spcBef>
              <a:buNone/>
              <a:defRPr sz="2400" b="1"/>
            </a:lvl4pPr>
            <a:lvl5pPr marL="0" indent="0" algn="l">
              <a:spcBef>
                <a:spcPts val="0"/>
              </a:spcBef>
              <a:buNone/>
              <a:defRPr sz="2400" b="1"/>
            </a:lvl5pPr>
            <a:lvl6pPr marL="0" indent="0" algn="l">
              <a:spcBef>
                <a:spcPts val="0"/>
              </a:spcBef>
              <a:buNone/>
              <a:defRPr sz="2400" b="1"/>
            </a:lvl6pPr>
            <a:lvl7pPr marL="0" indent="0" algn="l">
              <a:spcBef>
                <a:spcPts val="0"/>
              </a:spcBef>
              <a:buNone/>
              <a:defRPr sz="2400" b="1"/>
            </a:lvl7pPr>
            <a:lvl8pPr marL="0" indent="0" algn="l">
              <a:spcBef>
                <a:spcPts val="0"/>
              </a:spcBef>
              <a:buNone/>
              <a:defRPr sz="2400" b="1"/>
            </a:lvl8pPr>
            <a:lvl9pPr marL="0" indent="0" algn="l">
              <a:spcBef>
                <a:spcPts val="0"/>
              </a:spcBef>
              <a:buNone/>
              <a:defRPr sz="2400" b="1"/>
            </a:lvl9pPr>
          </a:lstStyle>
          <a:p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71340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">
          <p15:clr>
            <a:srgbClr val="9FCC3B"/>
          </p15:clr>
        </p15:guide>
        <p15:guide id="4" pos="3160">
          <p15:clr>
            <a:srgbClr val="9FCC3B"/>
          </p15:clr>
        </p15:guide>
        <p15:guide id="5" orient="horz" pos="572">
          <p15:clr>
            <a:srgbClr val="9FCC3B"/>
          </p15:clr>
        </p15:guide>
        <p15:guide id="6" orient="horz" pos="3612">
          <p15:clr>
            <a:srgbClr val="9FCC3B"/>
          </p15:clr>
        </p15:guide>
        <p15:guide id="7" orient="horz" pos="3294">
          <p15:clr>
            <a:srgbClr val="9FCC3B"/>
          </p15:clr>
        </p15:guide>
        <p15:guide id="8" orient="horz" pos="2976">
          <p15:clr>
            <a:srgbClr val="9FCC3B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3200" b="1" kern="1200" cap="all" baseline="0" dirty="0">
                <a:solidFill>
                  <a:schemeClr val="tx1"/>
                </a:solidFill>
                <a:latin typeface="Rois Bold" panose="00000805000000000000" pitchFamily="50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3BC849-8355-4BAE-A390-941E24E0DA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149" y="1268413"/>
            <a:ext cx="9366363" cy="446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EC1EC8E-50A0-4B9A-9010-A528B1B6114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AB79EB4-CE6C-437E-A85D-4B5B6F72326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449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4776987-94CF-421E-B6FD-C92087EB9E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98346" cy="685799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127713" y="908051"/>
            <a:ext cx="3891400" cy="2520949"/>
          </a:xfrm>
        </p:spPr>
        <p:txBody>
          <a:bodyPr anchor="t" anchorCtr="0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3600" b="1" kern="1200" cap="all" baseline="0" dirty="0">
                <a:solidFill>
                  <a:schemeClr val="tx1"/>
                </a:solidFill>
                <a:latin typeface="Rois Bold" panose="00000805000000000000" pitchFamily="50" charset="0"/>
                <a:ea typeface="+mj-ea"/>
                <a:cs typeface="+mj-cs"/>
              </a:defRPr>
            </a:lvl1pPr>
          </a:lstStyle>
          <a:p>
            <a:r>
              <a:rPr lang="de-DE" err="1"/>
              <a:t>TiteL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127712" y="3789040"/>
            <a:ext cx="3891401" cy="93536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2400" b="1"/>
            </a:lvl1pPr>
            <a:lvl2pPr marL="0" indent="0" algn="l">
              <a:spcBef>
                <a:spcPts val="0"/>
              </a:spcBef>
              <a:buNone/>
              <a:defRPr sz="2400" b="1"/>
            </a:lvl2pPr>
            <a:lvl3pPr marL="0" indent="0" algn="l">
              <a:spcBef>
                <a:spcPts val="0"/>
              </a:spcBef>
              <a:buNone/>
              <a:defRPr sz="2400" b="1"/>
            </a:lvl3pPr>
            <a:lvl4pPr marL="0" indent="0" algn="l">
              <a:spcBef>
                <a:spcPts val="0"/>
              </a:spcBef>
              <a:buNone/>
              <a:defRPr sz="2400" b="1"/>
            </a:lvl4pPr>
            <a:lvl5pPr marL="0" indent="0" algn="l">
              <a:spcBef>
                <a:spcPts val="0"/>
              </a:spcBef>
              <a:buNone/>
              <a:defRPr sz="2400" b="1"/>
            </a:lvl5pPr>
            <a:lvl6pPr marL="0" indent="0" algn="l">
              <a:spcBef>
                <a:spcPts val="0"/>
              </a:spcBef>
              <a:buNone/>
              <a:defRPr sz="2400" b="1"/>
            </a:lvl6pPr>
            <a:lvl7pPr marL="0" indent="0" algn="l">
              <a:spcBef>
                <a:spcPts val="0"/>
              </a:spcBef>
              <a:buNone/>
              <a:defRPr sz="2400" b="1"/>
            </a:lvl7pPr>
            <a:lvl8pPr marL="0" indent="0" algn="l">
              <a:spcBef>
                <a:spcPts val="0"/>
              </a:spcBef>
              <a:buNone/>
              <a:defRPr sz="2400" b="1"/>
            </a:lvl8pPr>
            <a:lvl9pPr marL="0" indent="0" algn="l">
              <a:spcBef>
                <a:spcPts val="0"/>
              </a:spcBef>
              <a:buNone/>
              <a:defRPr sz="2400" b="1"/>
            </a:lvl9pPr>
          </a:lstStyle>
          <a:p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07913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">
          <p15:clr>
            <a:srgbClr val="9FCC3B"/>
          </p15:clr>
        </p15:guide>
        <p15:guide id="4" pos="3160">
          <p15:clr>
            <a:srgbClr val="9FCC3B"/>
          </p15:clr>
        </p15:guide>
        <p15:guide id="5" orient="horz" pos="572">
          <p15:clr>
            <a:srgbClr val="9FCC3B"/>
          </p15:clr>
        </p15:guide>
        <p15:guide id="6" orient="horz" pos="3612">
          <p15:clr>
            <a:srgbClr val="9FCC3B"/>
          </p15:clr>
        </p15:guide>
        <p15:guide id="7" orient="horz" pos="3294">
          <p15:clr>
            <a:srgbClr val="9FCC3B"/>
          </p15:clr>
        </p15:guide>
        <p15:guide id="8" orient="horz" pos="2976">
          <p15:clr>
            <a:srgbClr val="9FCC3B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70D494BE-5460-46AC-9363-4CC0E6A6C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8348" cy="68579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83945" y="1700214"/>
            <a:ext cx="4178117" cy="2214657"/>
          </a:xfrm>
        </p:spPr>
        <p:txBody>
          <a:bodyPr anchor="t" anchorCtr="0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3600" b="1" kern="1200" cap="all" baseline="0" dirty="0">
                <a:solidFill>
                  <a:schemeClr val="tx1"/>
                </a:solidFill>
                <a:latin typeface="Rois Bold" panose="00000805000000000000" pitchFamily="50" charset="0"/>
                <a:ea typeface="+mj-ea"/>
                <a:cs typeface="+mj-cs"/>
              </a:defRPr>
            </a:lvl1pPr>
          </a:lstStyle>
          <a:p>
            <a:r>
              <a:rPr lang="de-DE" err="1"/>
              <a:t>TiteL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983945" y="5373688"/>
            <a:ext cx="4178117" cy="647600"/>
          </a:xfrm>
        </p:spPr>
        <p:txBody>
          <a:bodyPr anchor="b" anchorCtr="0"/>
          <a:lstStyle>
            <a:lvl1pPr marL="0" indent="0" algn="l">
              <a:spcBef>
                <a:spcPts val="400"/>
              </a:spcBef>
              <a:buNone/>
              <a:defRPr sz="1400" b="1"/>
            </a:lvl1pPr>
            <a:lvl2pPr marL="0" indent="0" algn="l">
              <a:spcBef>
                <a:spcPts val="400"/>
              </a:spcBef>
              <a:buNone/>
              <a:defRPr sz="1400" b="1"/>
            </a:lvl2pPr>
            <a:lvl3pPr marL="0" indent="0" algn="l">
              <a:spcBef>
                <a:spcPts val="400"/>
              </a:spcBef>
              <a:buNone/>
              <a:defRPr sz="1400" b="1"/>
            </a:lvl3pPr>
            <a:lvl4pPr marL="0" indent="0" algn="l">
              <a:spcBef>
                <a:spcPts val="400"/>
              </a:spcBef>
              <a:buNone/>
              <a:defRPr sz="1400" b="1"/>
            </a:lvl4pPr>
            <a:lvl5pPr marL="0" indent="0" algn="l">
              <a:spcBef>
                <a:spcPts val="400"/>
              </a:spcBef>
              <a:buNone/>
              <a:defRPr sz="1400" b="1"/>
            </a:lvl5pPr>
            <a:lvl6pPr marL="0" indent="0" algn="l">
              <a:spcBef>
                <a:spcPts val="400"/>
              </a:spcBef>
              <a:buNone/>
              <a:defRPr sz="1400" b="1"/>
            </a:lvl6pPr>
            <a:lvl7pPr marL="0" indent="0" algn="l">
              <a:spcBef>
                <a:spcPts val="400"/>
              </a:spcBef>
              <a:buNone/>
              <a:defRPr sz="1400" b="1"/>
            </a:lvl7pPr>
            <a:lvl8pPr marL="0" indent="0" algn="l">
              <a:spcBef>
                <a:spcPts val="400"/>
              </a:spcBef>
              <a:buNone/>
              <a:defRPr sz="1400" b="1"/>
            </a:lvl8pPr>
            <a:lvl9pPr marL="0" indent="0" algn="l">
              <a:spcBef>
                <a:spcPts val="400"/>
              </a:spcBef>
              <a:buNone/>
              <a:defRPr sz="1400" b="1"/>
            </a:lvl9pPr>
          </a:lstStyle>
          <a:p>
            <a:r>
              <a:rPr lang="de-DE"/>
              <a:t>Title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8602547E-4058-4D7D-9CC4-F7C6F5A9907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83573" y="4293569"/>
            <a:ext cx="4178117" cy="864095"/>
          </a:xfrm>
        </p:spPr>
        <p:txBody>
          <a:bodyPr/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3pPr>
            <a:lvl4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4pPr>
            <a:lvl5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5pPr>
            <a:lvl6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6pPr>
            <a:lvl7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7pPr>
            <a:lvl8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8pPr>
            <a:lvl9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9pPr>
          </a:lstStyle>
          <a:p>
            <a:pPr lvl="0"/>
            <a:r>
              <a:rPr lang="de-DE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00936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19">
          <p15:clr>
            <a:srgbClr val="9FCC3B"/>
          </p15:clr>
        </p15:guide>
        <p15:guide id="3" pos="3250">
          <p15:clr>
            <a:srgbClr val="9FCC3B"/>
          </p15:clr>
        </p15:guide>
        <p15:guide id="4" orient="horz" pos="1071">
          <p15:clr>
            <a:srgbClr val="9FCC3B"/>
          </p15:clr>
        </p15:guide>
        <p15:guide id="5" orient="horz" pos="3793">
          <p15:clr>
            <a:srgbClr val="9FCC3B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70D494BE-5460-46AC-9363-4CC0E6A6C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8348" cy="68579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83945" y="1700214"/>
            <a:ext cx="4178117" cy="2214657"/>
          </a:xfrm>
        </p:spPr>
        <p:txBody>
          <a:bodyPr anchor="t" anchorCtr="0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3600" b="1" kern="1200" cap="all" baseline="0" dirty="0">
                <a:solidFill>
                  <a:schemeClr val="tx1"/>
                </a:solidFill>
                <a:latin typeface="Rois Bold" panose="00000805000000000000" pitchFamily="50" charset="0"/>
                <a:ea typeface="+mj-ea"/>
                <a:cs typeface="+mj-cs"/>
              </a:defRPr>
            </a:lvl1pPr>
          </a:lstStyle>
          <a:p>
            <a:r>
              <a:rPr lang="de-DE" err="1"/>
              <a:t>TiteL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983945" y="5373688"/>
            <a:ext cx="4178117" cy="647600"/>
          </a:xfrm>
        </p:spPr>
        <p:txBody>
          <a:bodyPr anchor="b" anchorCtr="0"/>
          <a:lstStyle>
            <a:lvl1pPr marL="0" indent="0" algn="l">
              <a:spcBef>
                <a:spcPts val="400"/>
              </a:spcBef>
              <a:buNone/>
              <a:defRPr sz="1400" b="1"/>
            </a:lvl1pPr>
            <a:lvl2pPr marL="0" indent="0" algn="l">
              <a:spcBef>
                <a:spcPts val="400"/>
              </a:spcBef>
              <a:buNone/>
              <a:defRPr sz="1400" b="1"/>
            </a:lvl2pPr>
            <a:lvl3pPr marL="0" indent="0" algn="l">
              <a:spcBef>
                <a:spcPts val="400"/>
              </a:spcBef>
              <a:buNone/>
              <a:defRPr sz="1400" b="1"/>
            </a:lvl3pPr>
            <a:lvl4pPr marL="0" indent="0" algn="l">
              <a:spcBef>
                <a:spcPts val="400"/>
              </a:spcBef>
              <a:buNone/>
              <a:defRPr sz="1400" b="1"/>
            </a:lvl4pPr>
            <a:lvl5pPr marL="0" indent="0" algn="l">
              <a:spcBef>
                <a:spcPts val="400"/>
              </a:spcBef>
              <a:buNone/>
              <a:defRPr sz="1400" b="1"/>
            </a:lvl5pPr>
            <a:lvl6pPr marL="0" indent="0" algn="l">
              <a:spcBef>
                <a:spcPts val="400"/>
              </a:spcBef>
              <a:buNone/>
              <a:defRPr sz="1400" b="1"/>
            </a:lvl6pPr>
            <a:lvl7pPr marL="0" indent="0" algn="l">
              <a:spcBef>
                <a:spcPts val="400"/>
              </a:spcBef>
              <a:buNone/>
              <a:defRPr sz="1400" b="1"/>
            </a:lvl7pPr>
            <a:lvl8pPr marL="0" indent="0" algn="l">
              <a:spcBef>
                <a:spcPts val="400"/>
              </a:spcBef>
              <a:buNone/>
              <a:defRPr sz="1400" b="1"/>
            </a:lvl8pPr>
            <a:lvl9pPr marL="0" indent="0" algn="l">
              <a:spcBef>
                <a:spcPts val="400"/>
              </a:spcBef>
              <a:buNone/>
              <a:defRPr sz="1400" b="1"/>
            </a:lvl9pPr>
          </a:lstStyle>
          <a:p>
            <a:r>
              <a:rPr lang="de-DE"/>
              <a:t>Title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8602547E-4058-4D7D-9CC4-F7C6F5A9907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83573" y="4293569"/>
            <a:ext cx="4178117" cy="864095"/>
          </a:xfrm>
        </p:spPr>
        <p:txBody>
          <a:bodyPr/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3pPr>
            <a:lvl4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4pPr>
            <a:lvl5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5pPr>
            <a:lvl6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6pPr>
            <a:lvl7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7pPr>
            <a:lvl8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8pPr>
            <a:lvl9pPr marL="0" indent="0">
              <a:spcBef>
                <a:spcPts val="400"/>
              </a:spcBef>
              <a:buFont typeface="Arial" panose="020B0604020202020204" pitchFamily="34" charset="0"/>
              <a:buNone/>
              <a:defRPr sz="1400" b="0"/>
            </a:lvl9pPr>
          </a:lstStyle>
          <a:p>
            <a:pPr lvl="0"/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44031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19">
          <p15:clr>
            <a:srgbClr val="9FCC3B"/>
          </p15:clr>
        </p15:guide>
        <p15:guide id="3" pos="3250">
          <p15:clr>
            <a:srgbClr val="9FCC3B"/>
          </p15:clr>
        </p15:guide>
        <p15:guide id="4" orient="horz" pos="1071">
          <p15:clr>
            <a:srgbClr val="9FCC3B"/>
          </p15:clr>
        </p15:guide>
        <p15:guide id="5" orient="horz" pos="3793">
          <p15:clr>
            <a:srgbClr val="9FCC3B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vent Slide -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D6634FC-AA98-4E15-9A99-2510646C9B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150" y="1268413"/>
            <a:ext cx="6772626" cy="44640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sz="1600" b="0"/>
            </a:lvl1pPr>
            <a:lvl2pPr marL="0" indent="0">
              <a:buNone/>
              <a:defRPr sz="1200" b="1"/>
            </a:lvl2pPr>
            <a:lvl3pPr marL="306000">
              <a:buClr>
                <a:schemeClr val="bg2"/>
              </a:buClr>
              <a:defRPr sz="1200"/>
            </a:lvl3pPr>
            <a:lvl4pPr marL="612000">
              <a:spcBef>
                <a:spcPts val="0"/>
              </a:spcBef>
              <a:defRPr sz="1200"/>
            </a:lvl4pPr>
            <a:lvl5pPr marL="612000">
              <a:spcBef>
                <a:spcPts val="0"/>
              </a:spcBef>
              <a:defRPr sz="1200"/>
            </a:lvl5pPr>
            <a:lvl6pPr marL="612000">
              <a:spcBef>
                <a:spcPts val="0"/>
              </a:spcBef>
              <a:defRPr sz="1200"/>
            </a:lvl6pPr>
            <a:lvl7pPr marL="612000">
              <a:spcBef>
                <a:spcPts val="0"/>
              </a:spcBef>
              <a:defRPr sz="1200"/>
            </a:lvl7pPr>
            <a:lvl8pPr marL="612000">
              <a:spcBef>
                <a:spcPts val="0"/>
              </a:spcBef>
              <a:defRPr sz="1200"/>
            </a:lvl8pPr>
            <a:lvl9pPr marL="612000">
              <a:spcBef>
                <a:spcPts val="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0C8158-11D4-4B2D-B2A7-A9349BE3CA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12131" y="1268884"/>
            <a:ext cx="4034100" cy="4464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09CB429-0861-4FFE-8F6F-F41FE193D8A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F19795B-D5D6-4E47-A891-28086CBF6C5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1151" y="6309321"/>
            <a:ext cx="3746887" cy="2160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C251E26-8188-4954-9AD4-39804CF9E1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521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vent Slide - 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D6634FC-AA98-4E15-9A99-2510646C9B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150" y="1268413"/>
            <a:ext cx="6772626" cy="44640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sz="1600" b="0"/>
            </a:lvl1pPr>
            <a:lvl2pPr marL="0" indent="0">
              <a:buNone/>
              <a:defRPr sz="1200" b="1"/>
            </a:lvl2pPr>
            <a:lvl3pPr marL="306000">
              <a:buClr>
                <a:schemeClr val="bg2"/>
              </a:buClr>
              <a:defRPr sz="1200"/>
            </a:lvl3pPr>
            <a:lvl4pPr marL="612000">
              <a:spcBef>
                <a:spcPts val="0"/>
              </a:spcBef>
              <a:defRPr sz="1200"/>
            </a:lvl4pPr>
            <a:lvl5pPr marL="612000">
              <a:spcBef>
                <a:spcPts val="0"/>
              </a:spcBef>
              <a:defRPr sz="1200"/>
            </a:lvl5pPr>
            <a:lvl6pPr marL="612000">
              <a:spcBef>
                <a:spcPts val="0"/>
              </a:spcBef>
              <a:defRPr sz="1200"/>
            </a:lvl6pPr>
            <a:lvl7pPr marL="612000">
              <a:spcBef>
                <a:spcPts val="0"/>
              </a:spcBef>
              <a:defRPr sz="1200"/>
            </a:lvl7pPr>
            <a:lvl8pPr marL="612000">
              <a:spcBef>
                <a:spcPts val="0"/>
              </a:spcBef>
              <a:defRPr sz="1200"/>
            </a:lvl8pPr>
            <a:lvl9pPr marL="612000">
              <a:spcBef>
                <a:spcPts val="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0C8158-11D4-4B2D-B2A7-A9349BE3CA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12131" y="1268884"/>
            <a:ext cx="4034100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7CFA7588-0B15-49BF-85B0-DB4E5D336A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12131" y="3645256"/>
            <a:ext cx="4034100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B21EA70-ED8F-43D9-ADB4-36EA37D40FF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BB632B6-6F4C-4D49-8B42-D36BD4AE8C6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51151" y="6309321"/>
            <a:ext cx="3746887" cy="2160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8710D55-7B04-42A0-BCBD-F73E4FE08F4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638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vent Slide - 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D6634FC-AA98-4E15-9A99-2510646C9B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150" y="1268413"/>
            <a:ext cx="6772626" cy="44640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sz="1600" b="0"/>
            </a:lvl1pPr>
            <a:lvl2pPr marL="0" indent="0">
              <a:buNone/>
              <a:defRPr sz="1200" b="1"/>
            </a:lvl2pPr>
            <a:lvl3pPr marL="306000">
              <a:buClr>
                <a:schemeClr val="bg2"/>
              </a:buClr>
              <a:defRPr sz="1200"/>
            </a:lvl3pPr>
            <a:lvl4pPr marL="612000">
              <a:spcBef>
                <a:spcPts val="0"/>
              </a:spcBef>
              <a:defRPr sz="1200"/>
            </a:lvl4pPr>
            <a:lvl5pPr marL="612000">
              <a:spcBef>
                <a:spcPts val="0"/>
              </a:spcBef>
              <a:defRPr sz="1200"/>
            </a:lvl5pPr>
            <a:lvl6pPr marL="612000">
              <a:spcBef>
                <a:spcPts val="0"/>
              </a:spcBef>
              <a:defRPr sz="1200"/>
            </a:lvl6pPr>
            <a:lvl7pPr marL="612000">
              <a:spcBef>
                <a:spcPts val="0"/>
              </a:spcBef>
              <a:defRPr sz="1200"/>
            </a:lvl7pPr>
            <a:lvl8pPr marL="612000">
              <a:spcBef>
                <a:spcPts val="0"/>
              </a:spcBef>
              <a:defRPr sz="1200"/>
            </a:lvl8pPr>
            <a:lvl9pPr marL="612000">
              <a:spcBef>
                <a:spcPts val="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0C8158-11D4-4B2D-B2A7-A9349BE3CA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12131" y="1268884"/>
            <a:ext cx="4034100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3BAE8979-CE11-4DD8-A7FD-832E468355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12339" y="3645256"/>
            <a:ext cx="1872975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E0BA2079-3B0C-4B87-8802-2C99A4F2CD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73704" y="3645256"/>
            <a:ext cx="1872975" cy="20880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DF5C5FD-4D04-45D4-95CC-CC487AB7775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22A36BBC-B3E5-4911-A4BA-EDBCD2289AF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51151" y="6309321"/>
            <a:ext cx="3746887" cy="2160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D04AAAA-4B21-4156-AF88-49D446A5C9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449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4586987-CEE6-4B52-A761-56F0629791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671" y="1268413"/>
            <a:ext cx="11093775" cy="4464000"/>
          </a:xfrm>
        </p:spPr>
        <p:txBody>
          <a:bodyPr numCol="2" spcCol="576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3C5AE2-A235-4281-B168-E31216CF9E4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D1C2C3A-587A-4A49-A1F5-00E6352D99D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2719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dd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869FB-D6F3-44B6-9F95-3CC97A989F18}" type="datetime1">
              <a:rPr lang="sl-SI" smtClean="0"/>
              <a:t>24. 05. 2023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6" name="Picture 5" descr="A picture containing drawing  Description automatically generated">
            <a:extLst>
              <a:ext uri="{FF2B5EF4-FFF2-40B4-BE49-F238E27FC236}">
                <a16:creationId xmlns:a16="http://schemas.microsoft.com/office/drawing/2014/main" id="{7D2C0345-C5B4-44D3-829C-FCCDAC4656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0453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A5C3B-5112-4A6C-8743-63FD47D80110}" type="datetime1">
              <a:rPr lang="sl-SI" smtClean="0"/>
              <a:t>24. 05. 2023</a:t>
            </a:fld>
            <a:endParaRPr lang="de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5" name="Picture 4" descr="A picture containing drawing  Description automatically generated">
            <a:extLst>
              <a:ext uri="{FF2B5EF4-FFF2-40B4-BE49-F238E27FC236}">
                <a16:creationId xmlns:a16="http://schemas.microsoft.com/office/drawing/2014/main" id="{2AC1BA49-D98D-48D9-9C51-04A03E63C2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606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abl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dd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5343" y="1268414"/>
            <a:ext cx="3362619" cy="864443"/>
          </a:xfrm>
          <a:solidFill>
            <a:srgbClr val="8AE872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lIns="72000" tIns="36000">
            <a:normAutofit/>
          </a:bodyPr>
          <a:lstStyle>
            <a:lvl1pPr marL="0" indent="0">
              <a:buFontTx/>
              <a:buNone/>
              <a:defRPr sz="2133">
                <a:solidFill>
                  <a:srgbClr val="3C3C3C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426385" y="1270370"/>
            <a:ext cx="3362619" cy="864443"/>
          </a:xfrm>
          <a:gradFill flip="none" rotWithShape="1">
            <a:gsLst>
              <a:gs pos="0">
                <a:schemeClr val="accent1">
                  <a:shade val="93000"/>
                  <a:satMod val="130000"/>
                </a:schemeClr>
              </a:gs>
              <a:gs pos="0">
                <a:srgbClr val="8AE872"/>
              </a:gs>
            </a:gsLst>
            <a:lin ang="2700000" scaled="1"/>
            <a:tileRect/>
          </a:gra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lIns="72000" tIns="36000">
            <a:normAutofit/>
          </a:bodyPr>
          <a:lstStyle>
            <a:lvl1pPr marL="0" indent="0">
              <a:buFontTx/>
              <a:buNone/>
              <a:defRPr sz="2133">
                <a:solidFill>
                  <a:srgbClr val="3C3C3C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027548" y="1268414"/>
            <a:ext cx="3362619" cy="864443"/>
          </a:xfr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0">
                <a:srgbClr val="8AE872"/>
              </a:gs>
            </a:gsLst>
          </a:gra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lIns="72000" tIns="36000">
            <a:normAutofit/>
          </a:bodyPr>
          <a:lstStyle>
            <a:lvl1pPr marL="0" indent="0">
              <a:buFontTx/>
              <a:buNone/>
              <a:defRPr sz="2133">
                <a:solidFill>
                  <a:srgbClr val="3C3C3C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5839" y="2132856"/>
            <a:ext cx="3362619" cy="4104456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lIns="36000" tIns="36000">
            <a:normAutofit/>
          </a:bodyPr>
          <a:lstStyle>
            <a:lvl1pPr marL="191995" indent="-191995">
              <a:buClr>
                <a:srgbClr val="8AE872"/>
              </a:buClr>
              <a:buSzPct val="100000"/>
              <a:buFont typeface="Arial" pitchFamily="34" charset="0"/>
              <a:buChar char="−"/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426881" y="2134812"/>
            <a:ext cx="3362619" cy="4104456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lIns="36000" tIns="36000">
            <a:normAutofit/>
          </a:bodyPr>
          <a:lstStyle>
            <a:lvl1pPr marL="191995" indent="-191995">
              <a:buClr>
                <a:srgbClr val="8AE872"/>
              </a:buClr>
              <a:buSzPct val="100000"/>
              <a:buFont typeface="Arial" pitchFamily="34" charset="0"/>
              <a:buChar char="−"/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028044" y="2132856"/>
            <a:ext cx="3362619" cy="4104456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lIns="36000" tIns="36000">
            <a:normAutofit/>
          </a:bodyPr>
          <a:lstStyle>
            <a:lvl1pPr marL="191995" indent="-191995">
              <a:buClr>
                <a:srgbClr val="8AE872"/>
              </a:buClr>
              <a:buSzPct val="100000"/>
              <a:buFont typeface="Arial" pitchFamily="34" charset="0"/>
              <a:buChar char="−"/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9551888-44A7-42C3-8FC3-B9BE7F876536}" type="datetime1">
              <a:rPr lang="sl-SI" smtClean="0"/>
              <a:t>24. 05. 2023</a:t>
            </a:fld>
            <a:endParaRPr lang="de-CH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15" name="Picture 14" descr="A picture containing drawing  Description automatically generated">
            <a:extLst>
              <a:ext uri="{FF2B5EF4-FFF2-40B4-BE49-F238E27FC236}">
                <a16:creationId xmlns:a16="http://schemas.microsoft.com/office/drawing/2014/main" id="{DE17E3CE-9B33-4EDF-AD2B-80B6C5F165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892" y="6365694"/>
            <a:ext cx="2159912" cy="43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048230"/>
      </p:ext>
    </p:extLst>
  </p:cSld>
  <p:clrMapOvr>
    <a:masterClrMapping/>
  </p:clrMapOvr>
</p:sldLayout>
</file>

<file path=ppt/slideMasters/_rels/slideMaster1.xml.rels><?xml version="1.0" encoding="UTF-8" ?><Relationships xmlns="http://schemas.openxmlformats.org/package/2006/relationships"><Relationship Target="../slideLayouts/slideLayout8.xml" Type="http://schemas.openxmlformats.org/officeDocument/2006/relationships/slideLayout" Id="rId8"></Relationship><Relationship Target="../slideLayouts/slideLayout3.xml" Type="http://schemas.openxmlformats.org/officeDocument/2006/relationships/slideLayout" Id="rId3"></Relationship><Relationship Target="../slideLayouts/slideLayout7.xml" Type="http://schemas.openxmlformats.org/officeDocument/2006/relationships/slideLayout" Id="rId7"></Relationship><Relationship Target="../theme/theme1.xml" Type="http://schemas.openxmlformats.org/officeDocument/2006/relationships/theme" Id="rId12"></Relationship><Relationship Target="../slideLayouts/slideLayout2.xml" Type="http://schemas.openxmlformats.org/officeDocument/2006/relationships/slideLayout" Id="rId2"></Relationship><Relationship Target="../slideLayouts/slideLayout1.xml" Type="http://schemas.openxmlformats.org/officeDocument/2006/relationships/slideLayout" Id="rId1"></Relationship><Relationship Target="../slideLayouts/slideLayout6.xml" Type="http://schemas.openxmlformats.org/officeDocument/2006/relationships/slideLayout" Id="rId6"></Relationship><Relationship Target="../slideLayouts/slideLayout11.xml" Type="http://schemas.openxmlformats.org/officeDocument/2006/relationships/slideLayout" Id="rId11"></Relationship><Relationship Target="../slideLayouts/slideLayout5.xml" Type="http://schemas.openxmlformats.org/officeDocument/2006/relationships/slideLayout" Id="rId5"></Relationship><Relationship Target="../slideLayouts/slideLayout10.xml" Type="http://schemas.openxmlformats.org/officeDocument/2006/relationships/slideLayout" Id="rId10"></Relationship><Relationship Target="../slideLayouts/slideLayout4.xml" Type="http://schemas.openxmlformats.org/officeDocument/2006/relationships/slideLayout" Id="rId4"></Relationship><Relationship Target="../slideLayouts/slideLayout9.xml" Type="http://schemas.openxmlformats.org/officeDocument/2006/relationships/slideLayout" Id="rId9"></Relationship></Relationships>
</file>

<file path=ppt/slideMasters/_rels/slideMaster2.xml.rels><?xml version="1.0" encoding="UTF-8" ?><Relationships xmlns="http://schemas.openxmlformats.org/package/2006/relationships"><Relationship Target="../slideLayouts/slideLayout24.xml" Type="http://schemas.openxmlformats.org/officeDocument/2006/relationships/slideLayout" Id="rId13"></Relationship><Relationship Target="../slideLayouts/slideLayout29.xml" Type="http://schemas.openxmlformats.org/officeDocument/2006/relationships/slideLayout" Id="rId18"></Relationship><Relationship Target="../slideLayouts/slideLayout37.xml" Type="http://schemas.openxmlformats.org/officeDocument/2006/relationships/slideLayout" Id="rId26"></Relationship><Relationship Target="../slideLayouts/slideLayout50.xml" Type="http://schemas.openxmlformats.org/officeDocument/2006/relationships/slideLayout" Id="rId39"></Relationship><Relationship Target="../slideLayouts/slideLayout32.xml" Type="http://schemas.openxmlformats.org/officeDocument/2006/relationships/slideLayout" Id="rId21"></Relationship><Relationship Target="../slideLayouts/slideLayout45.xml" Type="http://schemas.openxmlformats.org/officeDocument/2006/relationships/slideLayout" Id="rId34"></Relationship><Relationship Target="../slideLayouts/slideLayout53.xml" Type="http://schemas.openxmlformats.org/officeDocument/2006/relationships/slideLayout" Id="rId42"></Relationship><Relationship Target="../slideLayouts/slideLayout58.xml" Type="http://schemas.openxmlformats.org/officeDocument/2006/relationships/slideLayout" Id="rId47"></Relationship><Relationship Target="../slideLayouts/slideLayout61.xml" Type="http://schemas.openxmlformats.org/officeDocument/2006/relationships/slideLayout" Id="rId50"></Relationship><Relationship Target="../slideLayouts/slideLayout66.xml" Type="http://schemas.openxmlformats.org/officeDocument/2006/relationships/slideLayout" Id="rId55"></Relationship><Relationship Target="../slideLayouts/slideLayout18.xml" Type="http://schemas.openxmlformats.org/officeDocument/2006/relationships/slideLayout" Id="rId7"></Relationship><Relationship Target="../slideLayouts/slideLayout13.xml" Type="http://schemas.openxmlformats.org/officeDocument/2006/relationships/slideLayout" Id="rId2"></Relationship><Relationship Target="../slideLayouts/slideLayout27.xml" Type="http://schemas.openxmlformats.org/officeDocument/2006/relationships/slideLayout" Id="rId16"></Relationship><Relationship Target="../slideLayouts/slideLayout40.xml" Type="http://schemas.openxmlformats.org/officeDocument/2006/relationships/slideLayout" Id="rId29"></Relationship><Relationship Target="../slideLayouts/slideLayout22.xml" Type="http://schemas.openxmlformats.org/officeDocument/2006/relationships/slideLayout" Id="rId11"></Relationship><Relationship Target="../slideLayouts/slideLayout35.xml" Type="http://schemas.openxmlformats.org/officeDocument/2006/relationships/slideLayout" Id="rId24"></Relationship><Relationship Target="../slideLayouts/slideLayout43.xml" Type="http://schemas.openxmlformats.org/officeDocument/2006/relationships/slideLayout" Id="rId32"></Relationship><Relationship Target="../slideLayouts/slideLayout48.xml" Type="http://schemas.openxmlformats.org/officeDocument/2006/relationships/slideLayout" Id="rId37"></Relationship><Relationship Target="../slideLayouts/slideLayout51.xml" Type="http://schemas.openxmlformats.org/officeDocument/2006/relationships/slideLayout" Id="rId40"></Relationship><Relationship Target="../slideLayouts/slideLayout56.xml" Type="http://schemas.openxmlformats.org/officeDocument/2006/relationships/slideLayout" Id="rId45"></Relationship><Relationship Target="../slideLayouts/slideLayout64.xml" Type="http://schemas.openxmlformats.org/officeDocument/2006/relationships/slideLayout" Id="rId53"></Relationship><Relationship Target="../theme/theme2.xml" Type="http://schemas.openxmlformats.org/officeDocument/2006/relationships/theme" Id="rId58"></Relationship><Relationship Target="../slideLayouts/slideLayout16.xml" Type="http://schemas.openxmlformats.org/officeDocument/2006/relationships/slideLayout" Id="rId5"></Relationship><Relationship Target="../slideLayouts/slideLayout30.xml" Type="http://schemas.openxmlformats.org/officeDocument/2006/relationships/slideLayout" Id="rId19"></Relationship><Relationship Target="../slideLayouts/slideLayout15.xml" Type="http://schemas.openxmlformats.org/officeDocument/2006/relationships/slideLayout" Id="rId4"></Relationship><Relationship Target="../slideLayouts/slideLayout20.xml" Type="http://schemas.openxmlformats.org/officeDocument/2006/relationships/slideLayout" Id="rId9"></Relationship><Relationship Target="../slideLayouts/slideLayout25.xml" Type="http://schemas.openxmlformats.org/officeDocument/2006/relationships/slideLayout" Id="rId14"></Relationship><Relationship Target="../slideLayouts/slideLayout33.xml" Type="http://schemas.openxmlformats.org/officeDocument/2006/relationships/slideLayout" Id="rId22"></Relationship><Relationship Target="../slideLayouts/slideLayout38.xml" Type="http://schemas.openxmlformats.org/officeDocument/2006/relationships/slideLayout" Id="rId27"></Relationship><Relationship Target="../slideLayouts/slideLayout41.xml" Type="http://schemas.openxmlformats.org/officeDocument/2006/relationships/slideLayout" Id="rId30"></Relationship><Relationship Target="../slideLayouts/slideLayout46.xml" Type="http://schemas.openxmlformats.org/officeDocument/2006/relationships/slideLayout" Id="rId35"></Relationship><Relationship Target="../slideLayouts/slideLayout54.xml" Type="http://schemas.openxmlformats.org/officeDocument/2006/relationships/slideLayout" Id="rId43"></Relationship><Relationship Target="../slideLayouts/slideLayout59.xml" Type="http://schemas.openxmlformats.org/officeDocument/2006/relationships/slideLayout" Id="rId48"></Relationship><Relationship Target="../slideLayouts/slideLayout67.xml" Type="http://schemas.openxmlformats.org/officeDocument/2006/relationships/slideLayout" Id="rId56"></Relationship><Relationship Target="../slideLayouts/slideLayout19.xml" Type="http://schemas.openxmlformats.org/officeDocument/2006/relationships/slideLayout" Id="rId8"></Relationship><Relationship Target="../slideLayouts/slideLayout62.xml" Type="http://schemas.openxmlformats.org/officeDocument/2006/relationships/slideLayout" Id="rId51"></Relationship><Relationship Target="../slideLayouts/slideLayout14.xml" Type="http://schemas.openxmlformats.org/officeDocument/2006/relationships/slideLayout" Id="rId3"></Relationship><Relationship Target="../slideLayouts/slideLayout23.xml" Type="http://schemas.openxmlformats.org/officeDocument/2006/relationships/slideLayout" Id="rId12"></Relationship><Relationship Target="../slideLayouts/slideLayout28.xml" Type="http://schemas.openxmlformats.org/officeDocument/2006/relationships/slideLayout" Id="rId17"></Relationship><Relationship Target="../slideLayouts/slideLayout36.xml" Type="http://schemas.openxmlformats.org/officeDocument/2006/relationships/slideLayout" Id="rId25"></Relationship><Relationship Target="../slideLayouts/slideLayout44.xml" Type="http://schemas.openxmlformats.org/officeDocument/2006/relationships/slideLayout" Id="rId33"></Relationship><Relationship Target="../slideLayouts/slideLayout49.xml" Type="http://schemas.openxmlformats.org/officeDocument/2006/relationships/slideLayout" Id="rId38"></Relationship><Relationship Target="../slideLayouts/slideLayout57.xml" Type="http://schemas.openxmlformats.org/officeDocument/2006/relationships/slideLayout" Id="rId46"></Relationship><Relationship Target="../media/image4.png" Type="http://schemas.openxmlformats.org/officeDocument/2006/relationships/image" Id="rId59"></Relationship><Relationship Target="../slideLayouts/slideLayout31.xml" Type="http://schemas.openxmlformats.org/officeDocument/2006/relationships/slideLayout" Id="rId20"></Relationship><Relationship Target="../slideLayouts/slideLayout52.xml" Type="http://schemas.openxmlformats.org/officeDocument/2006/relationships/slideLayout" Id="rId41"></Relationship><Relationship Target="../slideLayouts/slideLayout65.xml" Type="http://schemas.openxmlformats.org/officeDocument/2006/relationships/slideLayout" Id="rId54"></Relationship><Relationship Target="../slideLayouts/slideLayout12.xml" Type="http://schemas.openxmlformats.org/officeDocument/2006/relationships/slideLayout" Id="rId1"></Relationship><Relationship Target="../slideLayouts/slideLayout17.xml" Type="http://schemas.openxmlformats.org/officeDocument/2006/relationships/slideLayout" Id="rId6"></Relationship><Relationship Target="../slideLayouts/slideLayout26.xml" Type="http://schemas.openxmlformats.org/officeDocument/2006/relationships/slideLayout" Id="rId15"></Relationship><Relationship Target="../slideLayouts/slideLayout34.xml" Type="http://schemas.openxmlformats.org/officeDocument/2006/relationships/slideLayout" Id="rId23"></Relationship><Relationship Target="../slideLayouts/slideLayout39.xml" Type="http://schemas.openxmlformats.org/officeDocument/2006/relationships/slideLayout" Id="rId28"></Relationship><Relationship Target="../slideLayouts/slideLayout47.xml" Type="http://schemas.openxmlformats.org/officeDocument/2006/relationships/slideLayout" Id="rId36"></Relationship><Relationship Target="../slideLayouts/slideLayout60.xml" Type="http://schemas.openxmlformats.org/officeDocument/2006/relationships/slideLayout" Id="rId49"></Relationship><Relationship Target="../slideLayouts/slideLayout68.xml" Type="http://schemas.openxmlformats.org/officeDocument/2006/relationships/slideLayout" Id="rId57"></Relationship><Relationship Target="../slideLayouts/slideLayout21.xml" Type="http://schemas.openxmlformats.org/officeDocument/2006/relationships/slideLayout" Id="rId10"></Relationship><Relationship Target="../slideLayouts/slideLayout42.xml" Type="http://schemas.openxmlformats.org/officeDocument/2006/relationships/slideLayout" Id="rId31"></Relationship><Relationship Target="../slideLayouts/slideLayout55.xml" Type="http://schemas.openxmlformats.org/officeDocument/2006/relationships/slideLayout" Id="rId44"></Relationship><Relationship Target="../slideLayouts/slideLayout63.xml" Type="http://schemas.openxmlformats.org/officeDocument/2006/relationships/slideLayout" Id="rId52"></Relationship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15344" y="468315"/>
            <a:ext cx="10566584" cy="789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/>
              <a:t>Add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24 </a:t>
            </a:r>
            <a:r>
              <a:rPr lang="de-DE" err="1"/>
              <a:t>pt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15345" y="1255714"/>
            <a:ext cx="10565549" cy="49831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8 </a:t>
            </a:r>
            <a:r>
              <a:rPr lang="de-DE" err="1"/>
              <a:t>pt</a:t>
            </a:r>
            <a:endParaRPr lang="de-DE"/>
          </a:p>
          <a:p>
            <a:pPr lvl="2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thre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6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four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4 </a:t>
            </a:r>
            <a:r>
              <a:rPr lang="de-DE" err="1"/>
              <a:t>pt</a:t>
            </a:r>
            <a:endParaRPr lang="de-DE"/>
          </a:p>
          <a:p>
            <a:pPr lvl="4"/>
            <a:r>
              <a:rPr lang="de-DE"/>
              <a:t>Text </a:t>
            </a:r>
            <a:r>
              <a:rPr lang="de-DE" err="1"/>
              <a:t>level</a:t>
            </a:r>
            <a:r>
              <a:rPr lang="de-DE"/>
              <a:t> </a:t>
            </a:r>
            <a:r>
              <a:rPr lang="de-DE" err="1"/>
              <a:t>five</a:t>
            </a:r>
            <a:r>
              <a:rPr lang="de-DE"/>
              <a:t> Arial </a:t>
            </a:r>
            <a:r>
              <a:rPr lang="de-DE" err="1"/>
              <a:t>Bold</a:t>
            </a:r>
            <a:r>
              <a:rPr lang="de-DE"/>
              <a:t> 12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6099163" y="6393220"/>
            <a:ext cx="2856119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rgbClr val="777777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84ED1181-FA97-47C3-82A8-5A4EEAD4A233}" type="datetime1">
              <a:rPr lang="sl-SI" smtClean="0"/>
              <a:t>24. 05. 2023</a:t>
            </a:fld>
            <a:endParaRPr lang="de-CH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>
          <a:xfrm>
            <a:off x="1128021" y="6393220"/>
            <a:ext cx="4951481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rgbClr val="777777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>
          <a:xfrm>
            <a:off x="816425" y="6393220"/>
            <a:ext cx="28815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rgbClr val="777777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53C2AA7-0E62-4310-AF2C-0138D0680459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620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sz="3200" b="1" kern="1200">
          <a:solidFill>
            <a:srgbClr val="777777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Clr>
          <a:srgbClr val="8AE872"/>
        </a:buClr>
        <a:buSzPct val="110000"/>
        <a:buFont typeface="Arial" pitchFamily="34" charset="0"/>
        <a:buChar char="►"/>
        <a:defRPr sz="2667" b="1" kern="1200">
          <a:solidFill>
            <a:srgbClr val="777777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Clr>
          <a:srgbClr val="8AE872"/>
        </a:buClr>
        <a:buFont typeface="Arial" pitchFamily="34" charset="0"/>
        <a:buChar char="•"/>
        <a:defRPr sz="2400" b="1" kern="1200" baseline="0">
          <a:solidFill>
            <a:srgbClr val="777777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Clr>
          <a:srgbClr val="8AE872"/>
        </a:buClr>
        <a:buFont typeface="Arial" pitchFamily="34" charset="0"/>
        <a:buChar char="−"/>
        <a:defRPr sz="2133" b="1" kern="1200" baseline="0">
          <a:solidFill>
            <a:srgbClr val="777777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Clr>
          <a:srgbClr val="8AE872"/>
        </a:buClr>
        <a:buFont typeface="Wingdings" pitchFamily="2" charset="2"/>
        <a:buChar char="§"/>
        <a:defRPr sz="1867" b="1" kern="1200" baseline="0">
          <a:solidFill>
            <a:srgbClr val="777777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Clr>
          <a:srgbClr val="8AE872"/>
        </a:buClr>
        <a:buFont typeface="Arial" pitchFamily="34" charset="0"/>
        <a:buChar char="-"/>
        <a:defRPr sz="1600" b="1" kern="1200" baseline="0">
          <a:solidFill>
            <a:srgbClr val="777777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A39EBD60-B5C8-4330-B88B-3FE5740CB930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5185525" y="6183284"/>
            <a:ext cx="1822427" cy="502511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671" y="476250"/>
            <a:ext cx="11093775" cy="5044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Edit Master title sty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671" y="1268413"/>
            <a:ext cx="11093775" cy="44673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master</a:t>
            </a:r>
            <a:r>
              <a:rPr lang="de-DE"/>
              <a:t> style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917707" y="6309321"/>
            <a:ext cx="1080563" cy="216025"/>
          </a:xfrm>
          <a:prstGeom prst="rect">
            <a:avLst/>
          </a:prstGeom>
        </p:spPr>
        <p:txBody>
          <a:bodyPr vert="horz" lIns="0" tIns="64800" rIns="0" bIns="0" rtlCol="0" anchor="t" anchorCtr="0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204341F-1084-422F-81FD-BE1B3637A8F9}" type="datetime3">
              <a:rPr lang="de-DE" smtClean="0">
                <a:solidFill>
                  <a:srgbClr val="000000"/>
                </a:solidFill>
              </a:rPr>
              <a:pPr>
                <a:defRPr/>
              </a:pPr>
              <a:t>24/05/2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51151" y="6309321"/>
            <a:ext cx="3746887" cy="216025"/>
          </a:xfrm>
          <a:prstGeom prst="rect">
            <a:avLst/>
          </a:prstGeom>
        </p:spPr>
        <p:txBody>
          <a:bodyPr vert="horz" lIns="0" tIns="64800" rIns="0" bIns="0" rtlCol="0" anchor="t" anchorCtr="0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97575" y="6309321"/>
            <a:ext cx="649626" cy="216025"/>
          </a:xfrm>
          <a:prstGeom prst="rect">
            <a:avLst/>
          </a:prstGeom>
        </p:spPr>
        <p:txBody>
          <a:bodyPr vert="horz" lIns="0" tIns="14400" rIns="0" bIns="0" rtlCol="0" anchor="t" anchorCtr="0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7B5B4E9-0313-4949-9CA1-0E585048ABAC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A0108267-54E4-4265-9F19-7C89F4F6C526}"/>
              </a:ext>
            </a:extLst>
          </p:cNvPr>
          <p:cNvCxnSpPr>
            <a:cxnSpLocks/>
          </p:cNvCxnSpPr>
          <p:nvPr/>
        </p:nvCxnSpPr>
        <p:spPr>
          <a:xfrm>
            <a:off x="551151" y="6021288"/>
            <a:ext cx="11096051" cy="0"/>
          </a:xfrm>
          <a:prstGeom prst="line">
            <a:avLst/>
          </a:prstGeom>
          <a:ln w="28575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7">
            <a:extLst>
              <a:ext uri="{FF2B5EF4-FFF2-40B4-BE49-F238E27FC236}">
                <a16:creationId xmlns:a16="http://schemas.microsoft.com/office/drawing/2014/main" id="{BE99617E-5134-4A01-9BDF-F6B8C19CE0FF}"/>
              </a:ext>
            </a:extLst>
          </p:cNvPr>
          <p:cNvPicPr>
            <a:picLocks noChangeAspect="1"/>
          </p:cNvPicPr>
          <p:nvPr userDrawn="1"/>
        </p:nvPicPr>
        <p:blipFill>
          <a:blip r:embed="rId59"/>
          <a:stretch>
            <a:fillRect/>
          </a:stretch>
        </p:blipFill>
        <p:spPr>
          <a:xfrm>
            <a:off x="5185525" y="6183284"/>
            <a:ext cx="1822427" cy="502511"/>
          </a:xfrm>
          <a:prstGeom prst="rect">
            <a:avLst/>
          </a:prstGeom>
        </p:spPr>
      </p:pic>
      <p:cxnSp>
        <p:nvCxnSpPr>
          <p:cNvPr id="10" name="Gerade Verbindung 6">
            <a:extLst>
              <a:ext uri="{FF2B5EF4-FFF2-40B4-BE49-F238E27FC236}">
                <a16:creationId xmlns:a16="http://schemas.microsoft.com/office/drawing/2014/main" id="{EB871A08-80DF-495F-B35E-30CB9CC585DD}"/>
              </a:ext>
            </a:extLst>
          </p:cNvPr>
          <p:cNvCxnSpPr>
            <a:cxnSpLocks/>
          </p:cNvCxnSpPr>
          <p:nvPr userDrawn="1"/>
        </p:nvCxnSpPr>
        <p:spPr>
          <a:xfrm>
            <a:off x="551151" y="6021288"/>
            <a:ext cx="11096051" cy="0"/>
          </a:xfrm>
          <a:prstGeom prst="line">
            <a:avLst/>
          </a:prstGeom>
          <a:ln w="28575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68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29" r:id="rId35"/>
    <p:sldLayoutId id="2147483730" r:id="rId36"/>
    <p:sldLayoutId id="2147483731" r:id="rId37"/>
    <p:sldLayoutId id="2147483732" r:id="rId38"/>
    <p:sldLayoutId id="2147483733" r:id="rId39"/>
    <p:sldLayoutId id="2147483734" r:id="rId40"/>
    <p:sldLayoutId id="2147483735" r:id="rId41"/>
    <p:sldLayoutId id="2147483736" r:id="rId42"/>
    <p:sldLayoutId id="2147483737" r:id="rId43"/>
    <p:sldLayoutId id="2147483738" r:id="rId44"/>
    <p:sldLayoutId id="2147483739" r:id="rId45"/>
    <p:sldLayoutId id="2147483740" r:id="rId46"/>
    <p:sldLayoutId id="2147483741" r:id="rId47"/>
    <p:sldLayoutId id="2147483742" r:id="rId48"/>
    <p:sldLayoutId id="2147483743" r:id="rId49"/>
    <p:sldLayoutId id="2147483744" r:id="rId50"/>
    <p:sldLayoutId id="2147483745" r:id="rId51"/>
    <p:sldLayoutId id="2147483746" r:id="rId52"/>
    <p:sldLayoutId id="2147483747" r:id="rId53"/>
    <p:sldLayoutId id="2147483748" r:id="rId54"/>
    <p:sldLayoutId id="2147483749" r:id="rId55"/>
    <p:sldLayoutId id="2147483750" r:id="rId56"/>
    <p:sldLayoutId id="2147483751" r:id="rId5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0000"/>
        </a:lnSpc>
        <a:spcBef>
          <a:spcPts val="2000"/>
        </a:spcBef>
        <a:buClr>
          <a:schemeClr val="bg2"/>
        </a:buClr>
        <a:buFont typeface="Wingdings 3" panose="05040102010807070707" pitchFamily="18" charset="2"/>
        <a:buChar char="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12000" indent="-306000" algn="l" defTabSz="914400" rtl="0" eaLnBrk="1" latinLnBrk="0" hangingPunct="1">
        <a:lnSpc>
          <a:spcPct val="100000"/>
        </a:lnSpc>
        <a:spcBef>
          <a:spcPts val="1000"/>
        </a:spcBef>
        <a:buFont typeface="Wingdings 3" panose="05040102010807070707" pitchFamily="18" charset="2"/>
        <a:buChar char="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8000" indent="-306000" algn="l" defTabSz="914400" rtl="0" eaLnBrk="1" latinLnBrk="0" hangingPunct="1">
        <a:lnSpc>
          <a:spcPct val="100000"/>
        </a:lnSpc>
        <a:spcBef>
          <a:spcPts val="1000"/>
        </a:spcBef>
        <a:buFont typeface="Wingdings 3" panose="05040102010807070707" pitchFamily="18" charset="2"/>
        <a:buChar char="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8000" indent="-306000" algn="l" defTabSz="914400" rtl="0" eaLnBrk="1" latinLnBrk="0" hangingPunct="1">
        <a:lnSpc>
          <a:spcPct val="100000"/>
        </a:lnSpc>
        <a:spcBef>
          <a:spcPts val="1000"/>
        </a:spcBef>
        <a:buFont typeface="Wingdings 3" panose="05040102010807070707" pitchFamily="18" charset="2"/>
        <a:buChar char="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918000" indent="-306000" algn="l" defTabSz="914400" rtl="0" eaLnBrk="1" latinLnBrk="0" hangingPunct="1">
        <a:lnSpc>
          <a:spcPct val="100000"/>
        </a:lnSpc>
        <a:spcBef>
          <a:spcPts val="1000"/>
        </a:spcBef>
        <a:buFont typeface="Wingdings 3" panose="05040102010807070707" pitchFamily="18" charset="2"/>
        <a:buChar char="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8000" indent="-306000" algn="l" defTabSz="914400" rtl="0" eaLnBrk="1" latinLnBrk="0" hangingPunct="1">
        <a:lnSpc>
          <a:spcPct val="100000"/>
        </a:lnSpc>
        <a:spcBef>
          <a:spcPts val="1000"/>
        </a:spcBef>
        <a:buFont typeface="Wingdings 3" panose="05040102010807070707" pitchFamily="18" charset="2"/>
        <a:buChar char="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918000" indent="-306000" algn="l" defTabSz="914400" rtl="0" eaLnBrk="1" latinLnBrk="0" hangingPunct="1">
        <a:lnSpc>
          <a:spcPct val="100000"/>
        </a:lnSpc>
        <a:spcBef>
          <a:spcPts val="1000"/>
        </a:spcBef>
        <a:buFont typeface="Wingdings 3" panose="05040102010807070707" pitchFamily="18" charset="2"/>
        <a:buChar char="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918000" indent="-306000" algn="l" defTabSz="914400" rtl="0" eaLnBrk="1" latinLnBrk="0" hangingPunct="1">
        <a:lnSpc>
          <a:spcPct val="100000"/>
        </a:lnSpc>
        <a:spcBef>
          <a:spcPts val="1000"/>
        </a:spcBef>
        <a:buFont typeface="Wingdings 3" panose="05040102010807070707" pitchFamily="18" charset="2"/>
        <a:buChar char="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918000" indent="-306000" algn="l" defTabSz="914400" rtl="0" eaLnBrk="1" latinLnBrk="0" hangingPunct="1">
        <a:lnSpc>
          <a:spcPct val="100000"/>
        </a:lnSpc>
        <a:spcBef>
          <a:spcPts val="1000"/>
        </a:spcBef>
        <a:buFont typeface="Wingdings 3" panose="05040102010807070707" pitchFamily="18" charset="2"/>
        <a:buChar char="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6" orient="horz" pos="300">
          <p15:clr>
            <a:srgbClr val="F26B43"/>
          </p15:clr>
        </p15:guide>
        <p15:guide id="8" orient="horz" pos="799">
          <p15:clr>
            <a:srgbClr val="F26B43"/>
          </p15:clr>
        </p15:guide>
        <p15:guide id="14" pos="6244">
          <p15:clr>
            <a:srgbClr val="F26B43"/>
          </p15:clr>
        </p15:guide>
        <p15:guide id="17" orient="horz" pos="3974">
          <p15:clr>
            <a:srgbClr val="F26B43"/>
          </p15:clr>
        </p15:guide>
        <p15:guide id="18" orient="horz" pos="3612">
          <p15:clr>
            <a:srgbClr val="F26B43"/>
          </p15:clr>
        </p15:guide>
      </p15:sldGuideLst>
    </p:ext>
  </p:extLst>
</p:sldMaster>
</file>

<file path=ppt/slides/_rels/slide1.xml.rels><?xml version="1.0" encoding="UTF-8" ?><Relationships xmlns="http://schemas.openxmlformats.org/package/2006/relationships"><Relationship Target="../media/image38.png" Type="http://schemas.openxmlformats.org/officeDocument/2006/relationships/image" Id="rId3"></Relationship><Relationship Target="../notesSlides/notesSlide1.xml" Type="http://schemas.openxmlformats.org/officeDocument/2006/relationships/notesSlide" Id="rId2"></Relationship><Relationship Target="../slideLayouts/slideLayout13.xml" Type="http://schemas.openxmlformats.org/officeDocument/2006/relationships/slideLayout" Id="rId1"></Relationship></Relationships>
</file>

<file path=ppt/slides/_rels/slide2.xml.rels><?xml version="1.0" encoding="UTF-8" ?><Relationships xmlns="http://schemas.openxmlformats.org/package/2006/relationships"><Relationship Target="../notesSlides/notesSlide2.xml" Type="http://schemas.openxmlformats.org/officeDocument/2006/relationships/notesSlide" Id="rId3"></Relationship><Relationship Target="../slideLayouts/slideLayout3.xml" Type="http://schemas.openxmlformats.org/officeDocument/2006/relationships/slideLayout" Id="rId2"></Relationship><Relationship Target="../tags/tag3.xml" Type="http://schemas.openxmlformats.org/officeDocument/2006/relationships/tags" Id="rId1"></Relationship><Relationship Target="../media/image39.jpeg" Type="http://schemas.openxmlformats.org/officeDocument/2006/relationships/image" Id="rId4"></Relationship></Relationships>
</file>

<file path=ppt/slides/_rels/slide3.xml.rels><?xml version="1.0" encoding="UTF-8" ?><Relationships xmlns="http://schemas.openxmlformats.org/package/2006/relationships"><Relationship Target="../notesSlides/notesSlide3.xml" Type="http://schemas.openxmlformats.org/officeDocument/2006/relationships/notesSlide" Id="rId3"></Relationship><Relationship Target="../slideLayouts/slideLayout3.xml" Type="http://schemas.openxmlformats.org/officeDocument/2006/relationships/slideLayout" Id="rId2"></Relationship><Relationship Target="../tags/tag4.xml" Type="http://schemas.openxmlformats.org/officeDocument/2006/relationships/tags" Id="rId1"></Relationship><Relationship Target="../media/image41.png" Type="http://schemas.openxmlformats.org/officeDocument/2006/relationships/image" Id="rId5"></Relationship><Relationship Target="../media/image40.jpeg" Type="http://schemas.openxmlformats.org/officeDocument/2006/relationships/image" Id="rId4"></Relationship></Relationships>
</file>

<file path=ppt/slides/_rels/slide4.xml.rels><?xml version="1.0" encoding="UTF-8" ?><Relationships xmlns="http://schemas.openxmlformats.org/package/2006/relationships"><Relationship Target="../notesSlides/notesSlide4.xml" Type="http://schemas.openxmlformats.org/officeDocument/2006/relationships/notesSlide" Id="rId3"></Relationship><Relationship Target="../slideLayouts/slideLayout3.xml" Type="http://schemas.openxmlformats.org/officeDocument/2006/relationships/slideLayout" Id="rId2"></Relationship><Relationship Target="../tags/tag5.xml" Type="http://schemas.openxmlformats.org/officeDocument/2006/relationships/tags" Id="rId1"></Relationship></Relationships>
</file>

<file path=ppt/slides/_rels/slide5.xml.rels><?xml version="1.0" encoding="UTF-8" ?><Relationships xmlns="http://schemas.openxmlformats.org/package/2006/relationships"><Relationship Target="../notesSlides/notesSlide5.xml" Type="http://schemas.openxmlformats.org/officeDocument/2006/relationships/notesSlide" Id="rId3"></Relationship><Relationship Target="../slideLayouts/slideLayout3.xml" Type="http://schemas.openxmlformats.org/officeDocument/2006/relationships/slideLayout" Id="rId2"></Relationship><Relationship Target="../tags/tag6.xml" Type="http://schemas.openxmlformats.org/officeDocument/2006/relationships/tags" Id="rId1"></Relationship></Relationships>
</file>

<file path=ppt/slides/_rels/slide6.xml.rels><?xml version="1.0" encoding="UTF-8" ?><Relationships xmlns="http://schemas.openxmlformats.org/package/2006/relationships"><Relationship Target="../notesSlides/notesSlide6.xml" Type="http://schemas.openxmlformats.org/officeDocument/2006/relationships/notesSlide" Id="rId3"></Relationship><Relationship Target="../slideLayouts/slideLayout3.xml" Type="http://schemas.openxmlformats.org/officeDocument/2006/relationships/slideLayout" Id="rId2"></Relationship><Relationship Target="../tags/tag7.xml" Type="http://schemas.openxmlformats.org/officeDocument/2006/relationships/tags" Id="rId1"></Relationship></Relationships>
</file>

<file path=ppt/slides/_rels/slide7.xml.rels><?xml version="1.0" encoding="UTF-8" ?><Relationships xmlns="http://schemas.openxmlformats.org/package/2006/relationships"><Relationship Target="../notesSlides/notesSlide7.xml" Type="http://schemas.openxmlformats.org/officeDocument/2006/relationships/notesSlide" Id="rId3"></Relationship><Relationship Target="../slideLayouts/slideLayout3.xml" Type="http://schemas.openxmlformats.org/officeDocument/2006/relationships/slideLayout" Id="rId2"></Relationship><Relationship Target="../tags/tag8.xml" Type="http://schemas.openxmlformats.org/officeDocument/2006/relationships/tags" Id="rId1"></Relationship></Relationships>
</file>

<file path=ppt/slides/_rels/slide8.xml.rels><?xml version="1.0" encoding="UTF-8" ?><Relationships xmlns="http://schemas.openxmlformats.org/package/2006/relationships"><Relationship Target="../slideLayouts/slideLayout3.xml" Type="http://schemas.openxmlformats.org/officeDocument/2006/relationships/slideLayout" Id="rId3"></Relationship><Relationship Target="../tags/tag10.xml" Type="http://schemas.openxmlformats.org/officeDocument/2006/relationships/tags" Id="rId2"></Relationship><Relationship Target="../tags/tag9.xml" Type="http://schemas.openxmlformats.org/officeDocument/2006/relationships/tags" Id="rId1"></Relationship><Relationship TargetMode="External" Target="mailto:matic.zupancic@also.com" Type="http://schemas.openxmlformats.org/officeDocument/2006/relationships/hyperlink" Id="rId5"></Relationship><Relationship Target="../notesSlides/notesSlide8.xml" Type="http://schemas.openxmlformats.org/officeDocument/2006/relationships/notesSlide" Id="rId4"></Relationship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237B9D9-4846-4354-814C-7FF2C7CC4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1734" y="2648306"/>
            <a:ext cx="3717913" cy="3977845"/>
          </a:xfrm>
        </p:spPr>
        <p:txBody>
          <a:bodyPr vert="horz">
            <a:noAutofit/>
          </a:bodyPr>
          <a:lstStyle/>
          <a:p>
            <a:pPr algn="ctr">
              <a:lnSpc>
                <a:spcPct val="100000"/>
              </a:lnSpc>
            </a:pPr>
            <a:r>
              <a:rPr lang="sl-SI" sz="3200" dirty="0">
                <a:latin typeface="Segoe UI" panose="020B0502040204020203" pitchFamily="34" charset="0"/>
                <a:cs typeface="Segoe UI" panose="020B0502040204020203" pitchFamily="34" charset="0"/>
              </a:rPr>
              <a:t>Oblačna elektrifikacija</a:t>
            </a:r>
            <a:endParaRPr lang="en-US" sz="3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Untertitel 5">
            <a:extLst>
              <a:ext uri="{FF2B5EF4-FFF2-40B4-BE49-F238E27FC236}">
                <a16:creationId xmlns:a16="http://schemas.microsoft.com/office/drawing/2014/main" id="{35A3D0D4-3C55-6077-9A3C-6CC37DCE9D4D}"/>
              </a:ext>
            </a:extLst>
          </p:cNvPr>
          <p:cNvSpPr txBox="1">
            <a:spLocks/>
          </p:cNvSpPr>
          <p:nvPr/>
        </p:nvSpPr>
        <p:spPr>
          <a:xfrm>
            <a:off x="1130995" y="5464901"/>
            <a:ext cx="3239393" cy="647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Wingdings 3" panose="05040102010807070707" pitchFamily="18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Wingdings 3" panose="05040102010807070707" pitchFamily="18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Wingdings 3" panose="05040102010807070707" pitchFamily="18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Wingdings 3" panose="05040102010807070707" pitchFamily="18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Wingdings 3" panose="05040102010807070707" pitchFamily="18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Wingdings 3" panose="05040102010807070707" pitchFamily="18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Wingdings 3" panose="05040102010807070707" pitchFamily="18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Wingdings 3" panose="05040102010807070707" pitchFamily="18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l-SI" sz="2000" dirty="0"/>
              <a:t>Gašper Vilič Purg</a:t>
            </a:r>
          </a:p>
          <a:p>
            <a:pPr algn="ctr"/>
            <a:r>
              <a:rPr lang="sl-SI" sz="2000" dirty="0"/>
              <a:t>Jure Forstnerič</a:t>
            </a:r>
            <a:endParaRPr lang="en-GB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3AA09B-0885-91FD-936E-D780204986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4707" y="316083"/>
            <a:ext cx="2105025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7818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47425E-1EE2-4CE4-9BF8-20D776E5EA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219170"/>
            <a:fld id="{053C2AA7-0E62-4310-AF2C-0138D0680459}" type="slidenum">
              <a:rPr lang="de-CH"/>
              <a:pPr defTabSz="1219170"/>
              <a:t>2</a:t>
            </a:fld>
            <a:endParaRPr lang="de-CH"/>
          </a:p>
        </p:txBody>
      </p:sp>
      <p:cxnSp>
        <p:nvCxnSpPr>
          <p:cNvPr id="85" name="Line 9b87bea8-9700-44a0-8831-22650a780536"/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923026" y="1092200"/>
            <a:ext cx="10440391" cy="0"/>
          </a:xfrm>
          <a:prstGeom prst="line">
            <a:avLst/>
          </a:prstGeom>
          <a:noFill/>
          <a:ln w="19050" cap="flat" cmpd="sng" algn="ctr">
            <a:solidFill>
              <a:srgbClr val="8BB438"/>
            </a:solidFill>
            <a:prstDash val="solid"/>
          </a:ln>
          <a:effectLst/>
        </p:spPr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C71EF25-DC98-404C-BD16-4882E1D24971}"/>
              </a:ext>
            </a:extLst>
          </p:cNvPr>
          <p:cNvSpPr/>
          <p:nvPr/>
        </p:nvSpPr>
        <p:spPr>
          <a:xfrm>
            <a:off x="834933" y="586999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kern="0">
                <a:solidFill>
                  <a:schemeClr val="tx1">
                    <a:lumMod val="75000"/>
                  </a:schemeClr>
                </a:solidFill>
                <a:latin typeface="Arial"/>
              </a:rPr>
              <a:t> 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22FCB178-0AA6-4585-A658-588A64B99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447" y="496399"/>
            <a:ext cx="7925250" cy="773112"/>
          </a:xfrm>
        </p:spPr>
        <p:txBody>
          <a:bodyPr/>
          <a:lstStyle/>
          <a:p>
            <a:r>
              <a:rPr lang="sl-SI" dirty="0"/>
              <a:t>INTRO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EC0318-3264-EA5A-1FA0-1900A72245E4}"/>
              </a:ext>
            </a:extLst>
          </p:cNvPr>
          <p:cNvSpPr txBox="1"/>
          <p:nvPr/>
        </p:nvSpPr>
        <p:spPr>
          <a:xfrm>
            <a:off x="1104574" y="1623887"/>
            <a:ext cx="9281203" cy="1852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Urdu Typesetting" panose="020B0604020202020204" pitchFamily="66" charset="-78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Urdu Typesetting" panose="020B0604020202020204" pitchFamily="66" charset="-78"/>
              </a:rPr>
              <a:t>Zakaj bi se človek odločil za električni avtomobil?</a:t>
            </a: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Urdu Typesetting" panose="020B0604020202020204" pitchFamily="66" charset="-78"/>
            </a:endParaRPr>
          </a:p>
          <a:p>
            <a:endParaRPr lang="en-US" dirty="0">
              <a:solidFill>
                <a:prstClr val="black"/>
              </a:solidFill>
              <a:latin typeface="Garamond" panose="02020404030301010803" pitchFamily="18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Why your next car will be electric | British GQ | British GQ">
            <a:extLst>
              <a:ext uri="{FF2B5EF4-FFF2-40B4-BE49-F238E27FC236}">
                <a16:creationId xmlns:a16="http://schemas.microsoft.com/office/drawing/2014/main" id="{7E96A95B-0ADB-409C-1160-383FEA8D82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3321" y="2550294"/>
            <a:ext cx="6471708" cy="3640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4827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47425E-1EE2-4CE4-9BF8-20D776E5EA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219170"/>
            <a:fld id="{053C2AA7-0E62-4310-AF2C-0138D0680459}" type="slidenum">
              <a:rPr lang="de-CH"/>
              <a:pPr defTabSz="1219170"/>
              <a:t>3</a:t>
            </a:fld>
            <a:endParaRPr lang="de-CH"/>
          </a:p>
        </p:txBody>
      </p:sp>
      <p:cxnSp>
        <p:nvCxnSpPr>
          <p:cNvPr id="85" name="Line 9b87bea8-9700-44a0-8831-22650a780536"/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923026" y="1092200"/>
            <a:ext cx="10440391" cy="0"/>
          </a:xfrm>
          <a:prstGeom prst="line">
            <a:avLst/>
          </a:prstGeom>
          <a:noFill/>
          <a:ln w="19050" cap="flat" cmpd="sng" algn="ctr">
            <a:solidFill>
              <a:srgbClr val="8BB438"/>
            </a:solidFill>
            <a:prstDash val="solid"/>
          </a:ln>
          <a:effectLst/>
        </p:spPr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C71EF25-DC98-404C-BD16-4882E1D24971}"/>
              </a:ext>
            </a:extLst>
          </p:cNvPr>
          <p:cNvSpPr/>
          <p:nvPr/>
        </p:nvSpPr>
        <p:spPr>
          <a:xfrm>
            <a:off x="834933" y="586999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kern="0">
                <a:solidFill>
                  <a:schemeClr val="tx1">
                    <a:lumMod val="75000"/>
                  </a:schemeClr>
                </a:solidFill>
                <a:latin typeface="Arial"/>
              </a:rPr>
              <a:t> 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22FCB178-0AA6-4585-A658-588A64B99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446" y="496398"/>
            <a:ext cx="9607797" cy="801817"/>
          </a:xfrm>
        </p:spPr>
        <p:txBody>
          <a:bodyPr>
            <a:normAutofit/>
          </a:bodyPr>
          <a:lstStyle/>
          <a:p>
            <a:r>
              <a:rPr lang="sl-SI" dirty="0"/>
              <a:t>OBLAK, KI GA RAZUMEJO BABICE IN DEDKI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EC0318-3264-EA5A-1FA0-1900A72245E4}"/>
              </a:ext>
            </a:extLst>
          </p:cNvPr>
          <p:cNvSpPr txBox="1"/>
          <p:nvPr/>
        </p:nvSpPr>
        <p:spPr>
          <a:xfrm>
            <a:off x="1231874" y="2233487"/>
            <a:ext cx="7113736" cy="6726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Svet avtomobilizma</a:t>
            </a: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Svet IT-ja (svet „računalničarjev“)</a:t>
            </a: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br>
              <a:rPr lang="sl-SI" sz="3200" dirty="0">
                <a:latin typeface="Garamond" panose="02020404030301010803" pitchFamily="18" charset="0"/>
              </a:rPr>
            </a:br>
            <a:endParaRPr lang="en-US" sz="3200" dirty="0">
              <a:solidFill>
                <a:prstClr val="black"/>
              </a:solidFill>
              <a:latin typeface="Garamond" panose="02020404030301010803" pitchFamily="18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sz="3200" dirty="0">
              <a:solidFill>
                <a:prstClr val="black"/>
              </a:solidFill>
              <a:latin typeface="Garamond" panose="02020404030301010803" pitchFamily="18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sz="3200" dirty="0">
              <a:solidFill>
                <a:prstClr val="black"/>
              </a:solidFill>
              <a:latin typeface="Garamond" panose="02020404030301010803" pitchFamily="18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sz="3200" dirty="0">
              <a:solidFill>
                <a:prstClr val="black"/>
              </a:solidFill>
              <a:latin typeface="Garamond" panose="02020404030301010803" pitchFamily="18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sz="3200" dirty="0">
              <a:solidFill>
                <a:prstClr val="black"/>
              </a:solidFill>
              <a:latin typeface="Garamond" panose="02020404030301010803" pitchFamily="18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3200" dirty="0">
              <a:solidFill>
                <a:srgbClr val="0078D4"/>
              </a:solidFill>
              <a:latin typeface="Garamond" panose="02020404030301010803" pitchFamily="18" charset="0"/>
              <a:cs typeface="Segoe UI" panose="020B0502040204020203" pitchFamily="34" charset="0"/>
            </a:endParaRPr>
          </a:p>
        </p:txBody>
      </p:sp>
      <p:pic>
        <p:nvPicPr>
          <p:cNvPr id="1028" name="Picture 4" descr="Diesel vs Electric Cars, Which is Better?: The Pros and Cons">
            <a:extLst>
              <a:ext uri="{FF2B5EF4-FFF2-40B4-BE49-F238E27FC236}">
                <a16:creationId xmlns:a16="http://schemas.microsoft.com/office/drawing/2014/main" id="{04B92A88-083F-049B-8C13-F9FEC4BDB8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0734" y="1337692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On-Premises Vs Cloud Analytics | Data Semantics">
            <a:extLst>
              <a:ext uri="{FF2B5EF4-FFF2-40B4-BE49-F238E27FC236}">
                <a16:creationId xmlns:a16="http://schemas.microsoft.com/office/drawing/2014/main" id="{7270D628-E67F-B3DE-3F56-9EA1AF784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1302" y="3736134"/>
            <a:ext cx="3425174" cy="178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71425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Line 9b87bea8-9700-44a0-8831-22650a780536"/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923026" y="1092200"/>
            <a:ext cx="10440391" cy="0"/>
          </a:xfrm>
          <a:prstGeom prst="line">
            <a:avLst/>
          </a:prstGeom>
          <a:noFill/>
          <a:ln w="19050" cap="flat" cmpd="sng" algn="ctr">
            <a:solidFill>
              <a:srgbClr val="8BB438"/>
            </a:solidFill>
            <a:prstDash val="solid"/>
          </a:ln>
          <a:effectLst/>
        </p:spPr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C71EF25-DC98-404C-BD16-4882E1D24971}"/>
              </a:ext>
            </a:extLst>
          </p:cNvPr>
          <p:cNvSpPr/>
          <p:nvPr/>
        </p:nvSpPr>
        <p:spPr>
          <a:xfrm>
            <a:off x="834933" y="586999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kern="0">
                <a:solidFill>
                  <a:schemeClr val="tx1">
                    <a:lumMod val="75000"/>
                  </a:schemeClr>
                </a:solidFill>
                <a:latin typeface="Arial"/>
              </a:rPr>
              <a:t> 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22FCB178-0AA6-4585-A658-588A64B99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447" y="496399"/>
            <a:ext cx="10512136" cy="773112"/>
          </a:xfrm>
        </p:spPr>
        <p:txBody>
          <a:bodyPr/>
          <a:lstStyle/>
          <a:p>
            <a:r>
              <a:rPr lang="sl-SI" dirty="0"/>
              <a:t>IZ PRAKSE – „KAJ PIJE VODO“</a:t>
            </a:r>
            <a:endParaRPr lang="en-US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AF895B8-56BD-42AD-930A-E30105A30A5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099163" y="6393220"/>
            <a:ext cx="2856119" cy="288000"/>
          </a:xfrm>
        </p:spPr>
        <p:txBody>
          <a:bodyPr/>
          <a:lstStyle/>
          <a:p>
            <a:pPr defTabSz="1219170"/>
            <a:fld id="{75E06F37-1D03-4745-9564-CEE2912AC0A1}" type="datetime1">
              <a:rPr lang="sl-SI"/>
              <a:pPr defTabSz="1219170"/>
              <a:t>24. 05. 2023</a:t>
            </a:fld>
            <a:endParaRPr lang="de-CH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19D5091-AD3D-4880-8906-C199151C3D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16425" y="6393220"/>
            <a:ext cx="288150" cy="288000"/>
          </a:xfrm>
        </p:spPr>
        <p:txBody>
          <a:bodyPr/>
          <a:lstStyle/>
          <a:p>
            <a:pPr defTabSz="1219170"/>
            <a:fld id="{053C2AA7-0E62-4310-AF2C-0138D0680459}" type="slidenum">
              <a:rPr lang="de-CH"/>
              <a:pPr defTabSz="1219170"/>
              <a:t>4</a:t>
            </a:fld>
            <a:endParaRPr lang="de-CH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5C722D-3C02-75E2-DA53-1152E4DC3881}"/>
              </a:ext>
            </a:extLst>
          </p:cNvPr>
          <p:cNvSpPr/>
          <p:nvPr/>
        </p:nvSpPr>
        <p:spPr>
          <a:xfrm>
            <a:off x="816425" y="4999120"/>
            <a:ext cx="10609157" cy="12661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26BB6E-B746-9B47-F247-DF83DA933F35}"/>
              </a:ext>
            </a:extLst>
          </p:cNvPr>
          <p:cNvSpPr txBox="1"/>
          <p:nvPr/>
        </p:nvSpPr>
        <p:spPr>
          <a:xfrm>
            <a:off x="976959" y="1615420"/>
            <a:ext cx="8668482" cy="15801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523">
              <a:lnSpc>
                <a:spcPct val="90000"/>
              </a:lnSpc>
              <a:spcBef>
                <a:spcPts val="588"/>
              </a:spcBef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Zakaj vse več strank prehaja v oblak?</a:t>
            </a:r>
          </a:p>
          <a:p>
            <a:pPr marL="457200" indent="-457200" algn="ctr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algn="ctr"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01DA6C-8B2A-ACA9-2423-1C0FFA9761C1}"/>
              </a:ext>
            </a:extLst>
          </p:cNvPr>
          <p:cNvSpPr txBox="1"/>
          <p:nvPr/>
        </p:nvSpPr>
        <p:spPr>
          <a:xfrm>
            <a:off x="834932" y="3805259"/>
            <a:ext cx="3895111" cy="1946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Zaradi </a:t>
            </a:r>
            <a:r>
              <a:rPr lang="sl-SI" sz="3200" b="1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vsebinsko-tehničnih rešitev</a:t>
            </a: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, ki so učinkovite</a:t>
            </a: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30DDAF-E0B0-F368-CD10-6F641AF23B00}"/>
              </a:ext>
            </a:extLst>
          </p:cNvPr>
          <p:cNvSpPr txBox="1"/>
          <p:nvPr/>
        </p:nvSpPr>
        <p:spPr>
          <a:xfrm>
            <a:off x="6099163" y="3805259"/>
            <a:ext cx="5221333" cy="14262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523">
              <a:lnSpc>
                <a:spcPct val="90000"/>
              </a:lnSpc>
              <a:spcBef>
                <a:spcPts val="588"/>
              </a:spcBef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Zaradi </a:t>
            </a:r>
            <a:r>
              <a:rPr lang="sl-SI" sz="3200" b="1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poslovno-finančnih argumentov</a:t>
            </a: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, ki jih zasledujejo vodstva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211EAB8-7169-64E9-E8D7-991E9FD62068}"/>
              </a:ext>
            </a:extLst>
          </p:cNvPr>
          <p:cNvCxnSpPr/>
          <p:nvPr/>
        </p:nvCxnSpPr>
        <p:spPr>
          <a:xfrm flipH="1">
            <a:off x="3691467" y="2405508"/>
            <a:ext cx="1749777" cy="10234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B4C2555-893A-EE82-7642-D90EC00B6E8C}"/>
              </a:ext>
            </a:extLst>
          </p:cNvPr>
          <p:cNvCxnSpPr>
            <a:cxnSpLocks/>
          </p:cNvCxnSpPr>
          <p:nvPr/>
        </p:nvCxnSpPr>
        <p:spPr>
          <a:xfrm>
            <a:off x="5790319" y="2401296"/>
            <a:ext cx="1933578" cy="10277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29128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Line 9b87bea8-9700-44a0-8831-22650a780536"/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923026" y="1092200"/>
            <a:ext cx="10440391" cy="0"/>
          </a:xfrm>
          <a:prstGeom prst="line">
            <a:avLst/>
          </a:prstGeom>
          <a:noFill/>
          <a:ln w="19050" cap="flat" cmpd="sng" algn="ctr">
            <a:solidFill>
              <a:srgbClr val="8BB438"/>
            </a:solidFill>
            <a:prstDash val="solid"/>
          </a:ln>
          <a:effectLst/>
        </p:spPr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C71EF25-DC98-404C-BD16-4882E1D24971}"/>
              </a:ext>
            </a:extLst>
          </p:cNvPr>
          <p:cNvSpPr/>
          <p:nvPr/>
        </p:nvSpPr>
        <p:spPr>
          <a:xfrm>
            <a:off x="834933" y="586999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kern="0">
                <a:solidFill>
                  <a:schemeClr val="tx1">
                    <a:lumMod val="75000"/>
                  </a:schemeClr>
                </a:solidFill>
                <a:latin typeface="Arial"/>
              </a:rPr>
              <a:t> 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22FCB178-0AA6-4585-A658-588A64B99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447" y="496399"/>
            <a:ext cx="10512136" cy="773112"/>
          </a:xfrm>
        </p:spPr>
        <p:txBody>
          <a:bodyPr/>
          <a:lstStyle/>
          <a:p>
            <a:r>
              <a:rPr lang="sl-SI" dirty="0"/>
              <a:t>Nabor tehnično – vsebinskih scenarijev</a:t>
            </a:r>
            <a:endParaRPr lang="en-US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AF895B8-56BD-42AD-930A-E30105A30A5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099163" y="6393220"/>
            <a:ext cx="2856119" cy="288000"/>
          </a:xfrm>
        </p:spPr>
        <p:txBody>
          <a:bodyPr/>
          <a:lstStyle/>
          <a:p>
            <a:pPr defTabSz="1219170"/>
            <a:fld id="{75E06F37-1D03-4745-9564-CEE2912AC0A1}" type="datetime1">
              <a:rPr lang="sl-SI"/>
              <a:pPr defTabSz="1219170"/>
              <a:t>24. 05. 2023</a:t>
            </a:fld>
            <a:endParaRPr lang="de-CH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19D5091-AD3D-4880-8906-C199151C3D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16425" y="6393220"/>
            <a:ext cx="288150" cy="288000"/>
          </a:xfrm>
        </p:spPr>
        <p:txBody>
          <a:bodyPr/>
          <a:lstStyle/>
          <a:p>
            <a:pPr defTabSz="1219170"/>
            <a:fld id="{053C2AA7-0E62-4310-AF2C-0138D0680459}" type="slidenum">
              <a:rPr lang="de-CH"/>
              <a:pPr defTabSz="1219170"/>
              <a:t>5</a:t>
            </a:fld>
            <a:endParaRPr lang="de-CH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5C722D-3C02-75E2-DA53-1152E4DC3881}"/>
              </a:ext>
            </a:extLst>
          </p:cNvPr>
          <p:cNvSpPr/>
          <p:nvPr/>
        </p:nvSpPr>
        <p:spPr>
          <a:xfrm>
            <a:off x="816425" y="4999120"/>
            <a:ext cx="10609157" cy="12661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697EF9-D833-508E-D9C8-F7D59DAAD619}"/>
              </a:ext>
            </a:extLst>
          </p:cNvPr>
          <p:cNvSpPr txBox="1"/>
          <p:nvPr/>
        </p:nvSpPr>
        <p:spPr>
          <a:xfrm>
            <a:off x="1118985" y="2165754"/>
            <a:ext cx="8668482" cy="29423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r>
              <a:rPr lang="sl-SI" sz="3200" dirty="0" err="1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Backup</a:t>
            </a: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r>
              <a:rPr lang="sl-SI" sz="3200" dirty="0" err="1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Virtualke</a:t>
            </a: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r>
              <a:rPr lang="sl-SI" sz="3200" dirty="0" err="1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Disaster</a:t>
            </a: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 </a:t>
            </a:r>
            <a:r>
              <a:rPr lang="sl-SI" sz="3200" dirty="0" err="1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recovery</a:t>
            </a: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r>
              <a:rPr lang="sl-SI" sz="3200" dirty="0" err="1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Azure</a:t>
            </a: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 </a:t>
            </a:r>
            <a:r>
              <a:rPr lang="sl-SI" sz="3200" dirty="0" err="1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App</a:t>
            </a: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 </a:t>
            </a:r>
            <a:r>
              <a:rPr lang="sl-SI" sz="3200" dirty="0" err="1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services</a:t>
            </a: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r>
              <a:rPr lang="sl-SI" sz="3200" dirty="0" err="1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Azure</a:t>
            </a: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 AI platform</a:t>
            </a: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1800" dirty="0">
              <a:solidFill>
                <a:srgbClr val="0078D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2632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Line 9b87bea8-9700-44a0-8831-22650a780536"/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923026" y="1092200"/>
            <a:ext cx="10440391" cy="0"/>
          </a:xfrm>
          <a:prstGeom prst="line">
            <a:avLst/>
          </a:prstGeom>
          <a:noFill/>
          <a:ln w="19050" cap="flat" cmpd="sng" algn="ctr">
            <a:solidFill>
              <a:srgbClr val="8BB438"/>
            </a:solidFill>
            <a:prstDash val="solid"/>
          </a:ln>
          <a:effectLst/>
        </p:spPr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C71EF25-DC98-404C-BD16-4882E1D24971}"/>
              </a:ext>
            </a:extLst>
          </p:cNvPr>
          <p:cNvSpPr/>
          <p:nvPr/>
        </p:nvSpPr>
        <p:spPr>
          <a:xfrm>
            <a:off x="834933" y="586999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kern="0">
                <a:solidFill>
                  <a:schemeClr val="tx1">
                    <a:lumMod val="75000"/>
                  </a:schemeClr>
                </a:solidFill>
                <a:latin typeface="Arial"/>
              </a:rPr>
              <a:t> 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22FCB178-0AA6-4585-A658-588A64B99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447" y="496399"/>
            <a:ext cx="10512136" cy="773112"/>
          </a:xfrm>
        </p:spPr>
        <p:txBody>
          <a:bodyPr/>
          <a:lstStyle/>
          <a:p>
            <a:r>
              <a:rPr lang="sl-SI" dirty="0"/>
              <a:t>Nabor poslovno-finančnih argumentov</a:t>
            </a:r>
            <a:endParaRPr lang="en-US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AF895B8-56BD-42AD-930A-E30105A30A5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099163" y="6393220"/>
            <a:ext cx="2856119" cy="288000"/>
          </a:xfrm>
        </p:spPr>
        <p:txBody>
          <a:bodyPr/>
          <a:lstStyle/>
          <a:p>
            <a:pPr defTabSz="1219170"/>
            <a:fld id="{75E06F37-1D03-4745-9564-CEE2912AC0A1}" type="datetime1">
              <a:rPr lang="sl-SI"/>
              <a:pPr defTabSz="1219170"/>
              <a:t>24. 05. 2023</a:t>
            </a:fld>
            <a:endParaRPr lang="de-CH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19D5091-AD3D-4880-8906-C199151C3D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16425" y="6393220"/>
            <a:ext cx="288150" cy="288000"/>
          </a:xfrm>
        </p:spPr>
        <p:txBody>
          <a:bodyPr/>
          <a:lstStyle/>
          <a:p>
            <a:pPr defTabSz="1219170"/>
            <a:fld id="{053C2AA7-0E62-4310-AF2C-0138D0680459}" type="slidenum">
              <a:rPr lang="de-CH"/>
              <a:pPr defTabSz="1219170"/>
              <a:t>6</a:t>
            </a:fld>
            <a:endParaRPr lang="de-CH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5C722D-3C02-75E2-DA53-1152E4DC3881}"/>
              </a:ext>
            </a:extLst>
          </p:cNvPr>
          <p:cNvSpPr/>
          <p:nvPr/>
        </p:nvSpPr>
        <p:spPr>
          <a:xfrm>
            <a:off x="816425" y="4999120"/>
            <a:ext cx="10609157" cy="12661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697EF9-D833-508E-D9C8-F7D59DAAD619}"/>
              </a:ext>
            </a:extLst>
          </p:cNvPr>
          <p:cNvSpPr txBox="1"/>
          <p:nvPr/>
        </p:nvSpPr>
        <p:spPr>
          <a:xfrm>
            <a:off x="1118985" y="2165754"/>
            <a:ext cx="8668482" cy="597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Plačilo po porabi/najem</a:t>
            </a: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Standardizacija </a:t>
            </a: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Zunanje izvajanje storitev in »profesionalizacija« v kombinaciji s pomanjkanjem kadra</a:t>
            </a: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2000" dirty="0">
              <a:solidFill>
                <a:schemeClr val="bg2">
                  <a:lumMod val="1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2000" dirty="0">
              <a:solidFill>
                <a:schemeClr val="bg2">
                  <a:lumMod val="1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2000" dirty="0">
              <a:solidFill>
                <a:schemeClr val="bg2">
                  <a:lumMod val="1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2000" dirty="0">
              <a:solidFill>
                <a:schemeClr val="bg2">
                  <a:lumMod val="1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2000" dirty="0">
              <a:solidFill>
                <a:schemeClr val="bg2">
                  <a:lumMod val="1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br>
              <a:rPr lang="sl-SI" dirty="0"/>
            </a:br>
            <a:endParaRPr lang="en-US" sz="18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sz="18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1800" dirty="0">
              <a:solidFill>
                <a:srgbClr val="0078D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8087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Line 9b87bea8-9700-44a0-8831-22650a780536"/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923026" y="1092200"/>
            <a:ext cx="10440391" cy="0"/>
          </a:xfrm>
          <a:prstGeom prst="line">
            <a:avLst/>
          </a:prstGeom>
          <a:noFill/>
          <a:ln w="19050" cap="flat" cmpd="sng" algn="ctr">
            <a:solidFill>
              <a:srgbClr val="8BB438"/>
            </a:solidFill>
            <a:prstDash val="solid"/>
          </a:ln>
          <a:effectLst/>
        </p:spPr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C71EF25-DC98-404C-BD16-4882E1D24971}"/>
              </a:ext>
            </a:extLst>
          </p:cNvPr>
          <p:cNvSpPr/>
          <p:nvPr/>
        </p:nvSpPr>
        <p:spPr>
          <a:xfrm>
            <a:off x="834933" y="586999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kern="0">
                <a:solidFill>
                  <a:schemeClr val="tx1">
                    <a:lumMod val="75000"/>
                  </a:schemeClr>
                </a:solidFill>
                <a:latin typeface="Arial"/>
              </a:rPr>
              <a:t> 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22FCB178-0AA6-4585-A658-588A64B99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447" y="496399"/>
            <a:ext cx="10512136" cy="773112"/>
          </a:xfrm>
        </p:spPr>
        <p:txBody>
          <a:bodyPr/>
          <a:lstStyle/>
          <a:p>
            <a:r>
              <a:rPr lang="sl-SI" dirty="0"/>
              <a:t>Zadnja misel</a:t>
            </a:r>
            <a:endParaRPr lang="en-US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AF895B8-56BD-42AD-930A-E30105A30A5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099163" y="6393220"/>
            <a:ext cx="2856119" cy="288000"/>
          </a:xfrm>
        </p:spPr>
        <p:txBody>
          <a:bodyPr/>
          <a:lstStyle/>
          <a:p>
            <a:pPr defTabSz="1219170"/>
            <a:fld id="{75E06F37-1D03-4745-9564-CEE2912AC0A1}" type="datetime1">
              <a:rPr lang="sl-SI"/>
              <a:pPr defTabSz="1219170"/>
              <a:t>24. 05. 2023</a:t>
            </a:fld>
            <a:endParaRPr lang="de-CH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19D5091-AD3D-4880-8906-C199151C3D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16425" y="6393220"/>
            <a:ext cx="288150" cy="288000"/>
          </a:xfrm>
        </p:spPr>
        <p:txBody>
          <a:bodyPr/>
          <a:lstStyle/>
          <a:p>
            <a:pPr defTabSz="1219170"/>
            <a:fld id="{053C2AA7-0E62-4310-AF2C-0138D0680459}" type="slidenum">
              <a:rPr lang="de-CH"/>
              <a:pPr defTabSz="1219170"/>
              <a:t>7</a:t>
            </a:fld>
            <a:endParaRPr lang="de-CH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5C722D-3C02-75E2-DA53-1152E4DC3881}"/>
              </a:ext>
            </a:extLst>
          </p:cNvPr>
          <p:cNvSpPr/>
          <p:nvPr/>
        </p:nvSpPr>
        <p:spPr>
          <a:xfrm>
            <a:off x="816425" y="4999120"/>
            <a:ext cx="10609157" cy="12661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697EF9-D833-508E-D9C8-F7D59DAAD619}"/>
              </a:ext>
            </a:extLst>
          </p:cNvPr>
          <p:cNvSpPr txBox="1"/>
          <p:nvPr/>
        </p:nvSpPr>
        <p:spPr>
          <a:xfrm>
            <a:off x="2294401" y="2960703"/>
            <a:ext cx="8668482" cy="53430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„</a:t>
            </a:r>
            <a:r>
              <a:rPr lang="en-US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It's the not the Destination, It's the journey. </a:t>
            </a:r>
            <a:r>
              <a:rPr lang="sl-SI" sz="3200" dirty="0">
                <a:solidFill>
                  <a:schemeClr val="bg2">
                    <a:lumMod val="10000"/>
                  </a:schemeClr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“</a:t>
            </a: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3200" dirty="0">
              <a:solidFill>
                <a:schemeClr val="bg2">
                  <a:lumMod val="10000"/>
                </a:schemeClr>
              </a:solidFill>
              <a:latin typeface="Garamond" panose="02020404030301010803" pitchFamily="18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2000" dirty="0">
              <a:solidFill>
                <a:schemeClr val="bg2">
                  <a:lumMod val="1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457200" indent="-457200" defTabSz="913523">
              <a:lnSpc>
                <a:spcPct val="90000"/>
              </a:lnSpc>
              <a:spcBef>
                <a:spcPts val="588"/>
              </a:spcBef>
              <a:buFont typeface="+mj-lt"/>
              <a:buAutoNum type="arabicPeriod"/>
              <a:defRPr/>
            </a:pPr>
            <a:endParaRPr lang="sl-SI" sz="2000" dirty="0">
              <a:solidFill>
                <a:schemeClr val="bg2">
                  <a:lumMod val="1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2000" dirty="0">
              <a:solidFill>
                <a:schemeClr val="bg2">
                  <a:lumMod val="1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br>
              <a:rPr lang="sl-SI" dirty="0"/>
            </a:br>
            <a:endParaRPr lang="en-US" sz="18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en-US" sz="18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3523">
              <a:lnSpc>
                <a:spcPct val="90000"/>
              </a:lnSpc>
              <a:spcBef>
                <a:spcPts val="588"/>
              </a:spcBef>
              <a:defRPr/>
            </a:pPr>
            <a:endParaRPr lang="sl-SI" sz="1800" dirty="0">
              <a:solidFill>
                <a:srgbClr val="0078D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083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447257-DCC1-4431-A5DD-A8A83930157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1219170"/>
            <a:fld id="{75E06F37-1D03-4745-9564-CEE2912AC0A1}" type="datetime1">
              <a:rPr lang="sl-SI"/>
              <a:pPr defTabSz="1219170"/>
              <a:t>24. 05. 2023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0BBF5F-FFCB-45BD-B5E8-8B999C074A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1219170"/>
            <a:r>
              <a:rPr lang="en-US"/>
              <a:t>ALSO Technology Ljubljana, d.o.o.</a:t>
            </a:r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47425E-1EE2-4CE4-9BF8-20D776E5EA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219170"/>
            <a:fld id="{053C2AA7-0E62-4310-AF2C-0138D0680459}" type="slidenum">
              <a:rPr lang="de-CH"/>
              <a:pPr defTabSz="1219170"/>
              <a:t>8</a:t>
            </a:fld>
            <a:endParaRPr lang="de-CH"/>
          </a:p>
        </p:txBody>
      </p:sp>
      <p:cxnSp>
        <p:nvCxnSpPr>
          <p:cNvPr id="85" name="Line 9b87bea8-9700-44a0-8831-22650a780536"/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923026" y="1092200"/>
            <a:ext cx="10440391" cy="0"/>
          </a:xfrm>
          <a:prstGeom prst="line">
            <a:avLst/>
          </a:prstGeom>
          <a:noFill/>
          <a:ln w="19050" cap="flat" cmpd="sng" algn="ctr">
            <a:solidFill>
              <a:srgbClr val="8BB438"/>
            </a:solidFill>
            <a:prstDash val="solid"/>
          </a:ln>
          <a:effectLst/>
        </p:spPr>
      </p:cxnSp>
      <p:sp>
        <p:nvSpPr>
          <p:cNvPr id="122" name="Textbox 1 68bdd4b6-fef6-4c6a-8c63-e5866ab765fa">
            <a:extLst>
              <a:ext uri="{FF2B5EF4-FFF2-40B4-BE49-F238E27FC236}">
                <a16:creationId xmlns:a16="http://schemas.microsoft.com/office/drawing/2014/main" id="{06C029CD-B3C7-4A51-B6DF-75820441427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838697" y="832096"/>
            <a:ext cx="2524720" cy="226972"/>
          </a:xfrm>
          <a:prstGeom prst="rect">
            <a:avLst/>
          </a:prstGeom>
          <a:solidFill>
            <a:srgbClr val="8BB438"/>
          </a:solidFill>
          <a:ln w="3810">
            <a:noFill/>
          </a:ln>
          <a:extLst>
            <a:ext uri="{91240B29-F687-4F45-9708-019B960494DF}">
              <a14:hiddenLine xmlns:a14="http://schemas.microsoft.com/office/drawing/2010/main" w="381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buClr>
                <a:srgbClr val="8BB438"/>
              </a:buClr>
              <a:defRPr/>
            </a:pPr>
            <a:endParaRPr lang="en-US" sz="1300" b="1" ker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71EF25-DC98-404C-BD16-4882E1D24971}"/>
              </a:ext>
            </a:extLst>
          </p:cNvPr>
          <p:cNvSpPr/>
          <p:nvPr/>
        </p:nvSpPr>
        <p:spPr>
          <a:xfrm>
            <a:off x="834933" y="586999"/>
            <a:ext cx="2840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kern="0">
                <a:solidFill>
                  <a:schemeClr val="tx1">
                    <a:lumMod val="75000"/>
                  </a:schemeClr>
                </a:solidFill>
                <a:latin typeface="Arial"/>
              </a:rPr>
              <a:t>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674C28-1944-42B0-A479-62AC97395DF8}"/>
              </a:ext>
            </a:extLst>
          </p:cNvPr>
          <p:cNvSpPr/>
          <p:nvPr/>
        </p:nvSpPr>
        <p:spPr>
          <a:xfrm>
            <a:off x="2438961" y="2726905"/>
            <a:ext cx="7408520" cy="820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3600" b="1" kern="0" noProof="1">
                <a:solidFill>
                  <a:srgbClr val="000000"/>
                </a:solidFill>
                <a:latin typeface="Arial"/>
              </a:rPr>
              <a:t>HVALA!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C9496B3-437F-4E62-8441-2DD364B345D4}"/>
              </a:ext>
            </a:extLst>
          </p:cNvPr>
          <p:cNvSpPr/>
          <p:nvPr/>
        </p:nvSpPr>
        <p:spPr>
          <a:xfrm>
            <a:off x="2540022" y="4807140"/>
            <a:ext cx="7408520" cy="958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sl-SI" sz="2000" b="1" kern="0" noProof="1">
                <a:solidFill>
                  <a:srgbClr val="000000"/>
                </a:solidFill>
                <a:latin typeface="Arial"/>
                <a:hlinkClick r:id="rId5"/>
              </a:rPr>
              <a:t>Gasper.vilic</a:t>
            </a:r>
            <a:r>
              <a:rPr lang="en-US" sz="2000" b="1" kern="0" noProof="1">
                <a:solidFill>
                  <a:srgbClr val="000000"/>
                </a:solidFill>
                <a:latin typeface="Arial"/>
                <a:hlinkClick r:id="rId5"/>
              </a:rPr>
              <a:t>@also.com</a:t>
            </a:r>
          </a:p>
          <a:p>
            <a:pPr algn="ctr">
              <a:lnSpc>
                <a:spcPct val="150000"/>
              </a:lnSpc>
            </a:pPr>
            <a:r>
              <a:rPr lang="sl-SI" sz="2000" b="1" kern="0" noProof="1">
                <a:solidFill>
                  <a:srgbClr val="000000"/>
                </a:solidFill>
                <a:latin typeface="Arial"/>
                <a:hlinkClick r:id="rId5"/>
              </a:rPr>
              <a:t>Jure.forstneric</a:t>
            </a:r>
            <a:r>
              <a:rPr lang="en-US" sz="2000" b="1" kern="0" noProof="1">
                <a:solidFill>
                  <a:srgbClr val="000000"/>
                </a:solidFill>
                <a:latin typeface="Arial"/>
                <a:hlinkClick r:id="rId5"/>
              </a:rPr>
              <a:t>@also.com</a:t>
            </a:r>
            <a:endParaRPr lang="en-US" sz="2000" b="1" kern="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7368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.&lt;/m_chDecimalSymbol17909&gt;&lt;m_nGroupingDigits17909 val=&quot;3&quot;/&gt;&lt;m_chGroupingSymbol17909&gt;′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CHEMATICDIAGRAM" val="68bdd4b6-fef6-4c6a-8c63-e5866ab765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9b87bea8-9700-44a0-8831-22650a780536"/>
  <p:tag name="BORDERLINE" val="9b87bea8-9700-44a0-8831-22650a7805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9b87bea8-9700-44a0-8831-22650a780536"/>
  <p:tag name="BORDERLINE" val="9b87bea8-9700-44a0-8831-22650a78053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9b87bea8-9700-44a0-8831-22650a780536"/>
  <p:tag name="BORDERLINE" val="9b87bea8-9700-44a0-8831-22650a78053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9b87bea8-9700-44a0-8831-22650a780536"/>
  <p:tag name="BORDERLINE" val="9b87bea8-9700-44a0-8831-22650a78053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9b87bea8-9700-44a0-8831-22650a780536"/>
  <p:tag name="BORDERLINE" val="9b87bea8-9700-44a0-8831-22650a78053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9b87bea8-9700-44a0-8831-22650a780536"/>
  <p:tag name="BORDERLINE" val="9b87bea8-9700-44a0-8831-22650a78053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9b87bea8-9700-44a0-8831-22650a780536"/>
  <p:tag name="BORDERLINE" val="9b87bea8-9700-44a0-8831-22650a780536"/>
</p:tagLst>
</file>

<file path=ppt/theme/theme1.xml><?xml version="1.0" encoding="utf-8"?>
<a:theme xmlns:a="http://schemas.openxmlformats.org/drawingml/2006/main" name="1_2013 PPT ALSO Vorlage 2013 V01 en">
  <a:themeElements>
    <a:clrScheme name="also_1">
      <a:dk1>
        <a:srgbClr val="777777"/>
      </a:dk1>
      <a:lt1>
        <a:srgbClr val="FFFFFF"/>
      </a:lt1>
      <a:dk2>
        <a:srgbClr val="777777"/>
      </a:dk2>
      <a:lt2>
        <a:srgbClr val="EEECE1"/>
      </a:lt2>
      <a:accent1>
        <a:srgbClr val="8BB438"/>
      </a:accent1>
      <a:accent2>
        <a:srgbClr val="322E8D"/>
      </a:accent2>
      <a:accent3>
        <a:srgbClr val="8FBAD5"/>
      </a:accent3>
      <a:accent4>
        <a:srgbClr val="DFA936"/>
      </a:accent4>
      <a:accent5>
        <a:srgbClr val="4BACC6"/>
      </a:accent5>
      <a:accent6>
        <a:srgbClr val="F79646"/>
      </a:accent6>
      <a:hlink>
        <a:srgbClr val="C83F45"/>
      </a:hlink>
      <a:folHlink>
        <a:srgbClr val="D5863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ALSO Master">
  <a:themeElements>
    <a:clrScheme name="ALSO Colors">
      <a:dk1>
        <a:srgbClr val="000000"/>
      </a:dk1>
      <a:lt1>
        <a:srgbClr val="FFFFFF"/>
      </a:lt1>
      <a:dk2>
        <a:srgbClr val="006A7C"/>
      </a:dk2>
      <a:lt2>
        <a:srgbClr val="89E871"/>
      </a:lt2>
      <a:accent1>
        <a:srgbClr val="276EF1"/>
      </a:accent1>
      <a:accent2>
        <a:srgbClr val="FF7730"/>
      </a:accent2>
      <a:accent3>
        <a:srgbClr val="7E55FC"/>
      </a:accent3>
      <a:accent4>
        <a:srgbClr val="E6E650"/>
      </a:accent4>
      <a:accent5>
        <a:srgbClr val="FFB991"/>
      </a:accent5>
      <a:accent6>
        <a:srgbClr val="E6E6D7"/>
      </a:accent6>
      <a:hlink>
        <a:srgbClr val="006A7C"/>
      </a:hlink>
      <a:folHlink>
        <a:srgbClr val="494949"/>
      </a:folHlink>
    </a:clrScheme>
    <a:fontScheme name="ALSO Fonts">
      <a:majorFont>
        <a:latin typeface="Rois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LSO PPT Master.potx" id="{68A136D7-0812-4861-A47B-099AB979BB0C}" vid="{D1364DD5-B053-4BB3-B2AB-05B52D8A6378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3A37956B636DC479BE4241F0FE36F91" ma:contentTypeVersion="17" ma:contentTypeDescription="Ein neues Dokument erstellen." ma:contentTypeScope="" ma:versionID="dd78275fe50bb18f825cf205b7171221">
  <xsd:schema xmlns:xsd="http://www.w3.org/2001/XMLSchema" xmlns:xs="http://www.w3.org/2001/XMLSchema" xmlns:p="http://schemas.microsoft.com/office/2006/metadata/properties" xmlns:ns2="389fbe87-f517-478b-aa7b-1fe67d533b80" xmlns:ns3="9bdb2b6a-98f7-492a-a66c-6dae06604448" targetNamespace="http://schemas.microsoft.com/office/2006/metadata/properties" ma:root="true" ma:fieldsID="618609eadec993cd73e54b6166d6c8e6" ns2:_="" ns3:_="">
    <xsd:import namespace="389fbe87-f517-478b-aa7b-1fe67d533b80"/>
    <xsd:import namespace="9bdb2b6a-98f7-492a-a66c-6dae066044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9fbe87-f517-478b-aa7b-1fe67d533b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a88636fb-570f-4580-887d-d18a0f6640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db2b6a-98f7-492a-a66c-6dae0660444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b0b4359-e1af-4fdf-8ffb-9ddb8311a063}" ma:internalName="TaxCatchAll" ma:showField="CatchAllData" ma:web="9bdb2b6a-98f7-492a-a66c-6dae066044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bdb2b6a-98f7-492a-a66c-6dae06604448" xsi:nil="true"/>
    <lcf76f155ced4ddcb4097134ff3c332f xmlns="389fbe87-f517-478b-aa7b-1fe67d533b8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E74E299-9467-4E72-89BE-FE1E1E66057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A3391C8-13C1-428C-AAB7-231C0C0A3F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89fbe87-f517-478b-aa7b-1fe67d533b80"/>
    <ds:schemaRef ds:uri="9bdb2b6a-98f7-492a-a66c-6dae066044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94F266-8860-481E-A4EC-D15151AA8DEF}">
  <ds:schemaRefs>
    <ds:schemaRef ds:uri="9bdb2b6a-98f7-492a-a66c-6dae06604448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389fbe87-f517-478b-aa7b-1fe67d533b80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3 PPT ALSO Vorlage 2013 V01 en</Template>
  <TotalTime>1340</TotalTime>
  <Words>171</Words>
  <Application>Microsoft Office PowerPoint</Application>
  <PresentationFormat>Custom</PresentationFormat>
  <Paragraphs>83</Paragraphs>
  <Slides>8</Slides>
  <Notes>8</Notes>
  <HiddenSlides>2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Arial</vt:lpstr>
      <vt:lpstr>Calibri</vt:lpstr>
      <vt:lpstr>Garamond</vt:lpstr>
      <vt:lpstr>Rois</vt:lpstr>
      <vt:lpstr>Rois Bold</vt:lpstr>
      <vt:lpstr>Segoe UI</vt:lpstr>
      <vt:lpstr>Segoe UI Semibold</vt:lpstr>
      <vt:lpstr>Verdana</vt:lpstr>
      <vt:lpstr>Wingdings</vt:lpstr>
      <vt:lpstr>Wingdings 3</vt:lpstr>
      <vt:lpstr>1_2013 PPT ALSO Vorlage 2013 V01 en</vt:lpstr>
      <vt:lpstr>2_ALSO Master</vt:lpstr>
      <vt:lpstr>think-cell Slide</vt:lpstr>
      <vt:lpstr>Oblačna elektrifikacija</vt:lpstr>
      <vt:lpstr>INTRO</vt:lpstr>
      <vt:lpstr>OBLAK, KI GA RAZUMEJO BABICE IN DEDKI</vt:lpstr>
      <vt:lpstr>IZ PRAKSE – „KAJ PIJE VODO“</vt:lpstr>
      <vt:lpstr>Nabor tehnično – vsebinskih scenarijev</vt:lpstr>
      <vt:lpstr>Nabor poslovno-finančnih argumentov</vt:lpstr>
      <vt:lpstr>Zadnja misel</vt:lpstr>
      <vt:lpstr>PowerPoint Presentation</vt:lpstr>
    </vt:vector>
  </TitlesOfParts>
  <Company>ALSO Holding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O Group 2019</dc:title>
  <dc:creator>Mario Obst</dc:creator>
  <cp:keywords>ALSO Holding AG</cp:keywords>
  <cp:lastModifiedBy>Gašper Vilič</cp:lastModifiedBy>
  <cp:revision>2</cp:revision>
  <cp:lastPrinted>2020-03-06T14:57:30Z</cp:lastPrinted>
  <dcterms:created xsi:type="dcterms:W3CDTF">2012-12-18T09:47:45Z</dcterms:created>
  <dcterms:modified xsi:type="dcterms:W3CDTF">2023-05-24T14:1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dbef4c5-c818-41ba-ac89-c164c445b051_Enabled">
    <vt:lpwstr>True</vt:lpwstr>
  </property>
  <property fmtid="{D5CDD505-2E9C-101B-9397-08002B2CF9AE}" pid="3" name="MSIP_Label_8dbef4c5-c818-41ba-ac89-c164c445b051_SiteId">
    <vt:lpwstr>95924808-3044-4177-9c1b-713746ffab95</vt:lpwstr>
  </property>
  <property fmtid="{D5CDD505-2E9C-101B-9397-08002B2CF9AE}" pid="4" name="MSIP_Label_8dbef4c5-c818-41ba-ac89-c164c445b051_Owner">
    <vt:lpwstr>andreas.kuhn@also.com</vt:lpwstr>
  </property>
  <property fmtid="{D5CDD505-2E9C-101B-9397-08002B2CF9AE}" pid="5" name="MSIP_Label_8dbef4c5-c818-41ba-ac89-c164c445b051_SetDate">
    <vt:lpwstr>2019-02-27T07:16:54.6935942Z</vt:lpwstr>
  </property>
  <property fmtid="{D5CDD505-2E9C-101B-9397-08002B2CF9AE}" pid="6" name="MSIP_Label_8dbef4c5-c818-41ba-ac89-c164c445b051_Name">
    <vt:lpwstr>General</vt:lpwstr>
  </property>
  <property fmtid="{D5CDD505-2E9C-101B-9397-08002B2CF9AE}" pid="7" name="MSIP_Label_8dbef4c5-c818-41ba-ac89-c164c445b051_Application">
    <vt:lpwstr>Microsoft Azure Information Protection</vt:lpwstr>
  </property>
  <property fmtid="{D5CDD505-2E9C-101B-9397-08002B2CF9AE}" pid="8" name="MSIP_Label_8dbef4c5-c818-41ba-ac89-c164c445b051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43A37956B636DC479BE4241F0FE36F91</vt:lpwstr>
  </property>
  <property fmtid="{D5CDD505-2E9C-101B-9397-08002B2CF9AE}" pid="11" name="MediaServiceImageTags">
    <vt:lpwstr/>
  </property>
</Properties>
</file>